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fif" ContentType="image/jpe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  <Override PartName="/ppt/authors.xml" ContentType="application/vnd.ms-powerpoint.authors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59" r:id="rId4"/>
    <p:sldMasterId id="2147483772" r:id="rId5"/>
    <p:sldMasterId id="2147483804" r:id="rId6"/>
    <p:sldMasterId id="2147483811" r:id="rId7"/>
  </p:sldMasterIdLst>
  <p:notesMasterIdLst>
    <p:notesMasterId r:id="rId21"/>
  </p:notesMasterIdLst>
  <p:sldIdLst>
    <p:sldId id="5623" r:id="rId8"/>
    <p:sldId id="2147470793" r:id="rId9"/>
    <p:sldId id="2147470827" r:id="rId10"/>
    <p:sldId id="2147470817" r:id="rId11"/>
    <p:sldId id="2147470816" r:id="rId12"/>
    <p:sldId id="2147470828" r:id="rId13"/>
    <p:sldId id="2147470806" r:id="rId14"/>
    <p:sldId id="2147470822" r:id="rId15"/>
    <p:sldId id="2147470810" r:id="rId16"/>
    <p:sldId id="2147470823" r:id="rId17"/>
    <p:sldId id="2147470826" r:id="rId18"/>
    <p:sldId id="2147470815" r:id="rId19"/>
    <p:sldId id="2147470794" r:id="rId20"/>
  </p:sldIdLst>
  <p:sldSz cx="12192000" cy="6858000"/>
  <p:notesSz cx="6858000" cy="9144000"/>
  <p:defaultTextStyle>
    <a:defPPr>
      <a:defRPr lang="en-US"/>
    </a:defPPr>
    <a:lvl1pPr marL="0" algn="l" defTabSz="91424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20" algn="l" defTabSz="91424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240" algn="l" defTabSz="91424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360" algn="l" defTabSz="91424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480" algn="l" defTabSz="91424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600" algn="l" defTabSz="91424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720" algn="l" defTabSz="91424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9840" algn="l" defTabSz="91424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6960" algn="l" defTabSz="91424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240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3C964D2E-C0B7-D518-BED1-975A9717F6FE}" name="Andy Tiller" initials="AT" userId="S::atiller@tmforum.org::fb0d9df4-6e43-4400-8f6d-09dcce6e1ee1" providerId="AD"/>
  <p188:author id="{40DD4662-B6CC-9FF0-AB23-BDA23912B263}" name="Nik Willetts" initials="NW" userId="S::nwilletts@tmforum.org::9e6c1e53-4cbc-405f-9d6f-56bb7b816458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ndy Tiller" initials="AT" lastIdx="7" clrIdx="0">
    <p:extLst>
      <p:ext uri="{19B8F6BF-5375-455C-9EA6-DF929625EA0E}">
        <p15:presenceInfo xmlns:p15="http://schemas.microsoft.com/office/powerpoint/2012/main" userId="S::atiller@tmforum.org::fb0d9df4-6e43-4400-8f6d-09dcce6e1ee1" providerId="AD"/>
      </p:ext>
    </p:extLst>
  </p:cmAuthor>
  <p:cmAuthor id="2" name="Sue Davis" initials="SD" lastIdx="4" clrIdx="1">
    <p:extLst>
      <p:ext uri="{19B8F6BF-5375-455C-9EA6-DF929625EA0E}">
        <p15:presenceInfo xmlns:p15="http://schemas.microsoft.com/office/powerpoint/2012/main" userId="S::sdavis@tmforum.org::d4bb4cab-e189-4e8b-85ef-fbdc3b34569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060"/>
    <a:srgbClr val="ED7D31"/>
    <a:srgbClr val="1A2746"/>
    <a:srgbClr val="70AD47"/>
    <a:srgbClr val="FFFFCC"/>
    <a:srgbClr val="D30C13"/>
    <a:srgbClr val="8C8C8C"/>
    <a:srgbClr val="E0121D"/>
    <a:srgbClr val="1A1A1A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1BC7487-63B3-4F40-8846-A72EB676B843}" v="1" dt="2022-08-31T16:35:43.04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5" d="100"/>
          <a:sy n="65" d="100"/>
        </p:scale>
        <p:origin x="700" y="40"/>
      </p:cViewPr>
      <p:guideLst>
        <p:guide orient="horz" pos="2160"/>
        <p:guide pos="32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34" Type="http://schemas.microsoft.com/office/2015/10/relationships/revisionInfo" Target="revisionInfo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theme" Target="theme/theme1.xml"/><Relationship Id="rId33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viewProps" Target="viewProps.xml"/><Relationship Id="rId32" Type="http://schemas.microsoft.com/office/2016/11/relationships/changesInfo" Target="changesInfos/changesInfo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presProps" Target="presProp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commentAuthors" Target="comment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ndy Tiller" userId="fb0d9df4-6e43-4400-8f6d-09dcce6e1ee1" providerId="ADAL" clId="{F8D5B707-4929-42CB-A5ED-F10BFA954260}"/>
    <pc:docChg chg="undo custSel addSld delSld modSld modMainMaster">
      <pc:chgData name="Andy Tiller" userId="fb0d9df4-6e43-4400-8f6d-09dcce6e1ee1" providerId="ADAL" clId="{F8D5B707-4929-42CB-A5ED-F10BFA954260}" dt="2022-08-25T11:35:00.085" v="51" actId="700"/>
      <pc:docMkLst>
        <pc:docMk/>
      </pc:docMkLst>
      <pc:sldChg chg="addSp delSp modSp mod modClrScheme chgLayout">
        <pc:chgData name="Andy Tiller" userId="fb0d9df4-6e43-4400-8f6d-09dcce6e1ee1" providerId="ADAL" clId="{F8D5B707-4929-42CB-A5ED-F10BFA954260}" dt="2022-08-25T11:35:00.085" v="51" actId="700"/>
        <pc:sldMkLst>
          <pc:docMk/>
          <pc:sldMk cId="1914322319" sldId="5623"/>
        </pc:sldMkLst>
        <pc:spChg chg="add del mod ord">
          <ac:chgData name="Andy Tiller" userId="fb0d9df4-6e43-4400-8f6d-09dcce6e1ee1" providerId="ADAL" clId="{F8D5B707-4929-42CB-A5ED-F10BFA954260}" dt="2022-08-25T11:35:00.085" v="51" actId="700"/>
          <ac:spMkLst>
            <pc:docMk/>
            <pc:sldMk cId="1914322319" sldId="5623"/>
            <ac:spMk id="2" creationId="{5BA383FF-E313-C438-B8F4-246762AD14B3}"/>
          </ac:spMkLst>
        </pc:spChg>
        <pc:spChg chg="add mod ord">
          <ac:chgData name="Andy Tiller" userId="fb0d9df4-6e43-4400-8f6d-09dcce6e1ee1" providerId="ADAL" clId="{F8D5B707-4929-42CB-A5ED-F10BFA954260}" dt="2022-08-25T11:35:00.085" v="51" actId="700"/>
          <ac:spMkLst>
            <pc:docMk/>
            <pc:sldMk cId="1914322319" sldId="5623"/>
            <ac:spMk id="3" creationId="{6639F629-1338-8D40-1DD2-400587BFBD09}"/>
          </ac:spMkLst>
        </pc:spChg>
        <pc:spChg chg="mod ord">
          <ac:chgData name="Andy Tiller" userId="fb0d9df4-6e43-4400-8f6d-09dcce6e1ee1" providerId="ADAL" clId="{F8D5B707-4929-42CB-A5ED-F10BFA954260}" dt="2022-08-25T11:35:00.085" v="51" actId="700"/>
          <ac:spMkLst>
            <pc:docMk/>
            <pc:sldMk cId="1914322319" sldId="5623"/>
            <ac:spMk id="4" creationId="{41B7D281-9AAA-C0FE-E707-123712502EDC}"/>
          </ac:spMkLst>
        </pc:spChg>
        <pc:spChg chg="del">
          <ac:chgData name="Andy Tiller" userId="fb0d9df4-6e43-4400-8f6d-09dcce6e1ee1" providerId="ADAL" clId="{F8D5B707-4929-42CB-A5ED-F10BFA954260}" dt="2022-08-25T11:31:20.406" v="40" actId="700"/>
          <ac:spMkLst>
            <pc:docMk/>
            <pc:sldMk cId="1914322319" sldId="5623"/>
            <ac:spMk id="5" creationId="{01280943-4AD9-FAC1-497F-F345C1774298}"/>
          </ac:spMkLst>
        </pc:spChg>
        <pc:spChg chg="del">
          <ac:chgData name="Andy Tiller" userId="fb0d9df4-6e43-4400-8f6d-09dcce6e1ee1" providerId="ADAL" clId="{F8D5B707-4929-42CB-A5ED-F10BFA954260}" dt="2022-08-25T11:31:20.406" v="40" actId="700"/>
          <ac:spMkLst>
            <pc:docMk/>
            <pc:sldMk cId="1914322319" sldId="5623"/>
            <ac:spMk id="6" creationId="{95A18946-87A5-6069-636F-A7756FF068EE}"/>
          </ac:spMkLst>
        </pc:spChg>
        <pc:spChg chg="del">
          <ac:chgData name="Andy Tiller" userId="fb0d9df4-6e43-4400-8f6d-09dcce6e1ee1" providerId="ADAL" clId="{F8D5B707-4929-42CB-A5ED-F10BFA954260}" dt="2022-08-25T11:31:20.406" v="40" actId="700"/>
          <ac:spMkLst>
            <pc:docMk/>
            <pc:sldMk cId="1914322319" sldId="5623"/>
            <ac:spMk id="7" creationId="{9C5FAF1B-A542-899F-9D13-A304F5079D40}"/>
          </ac:spMkLst>
        </pc:spChg>
        <pc:spChg chg="add mod ord">
          <ac:chgData name="Andy Tiller" userId="fb0d9df4-6e43-4400-8f6d-09dcce6e1ee1" providerId="ADAL" clId="{F8D5B707-4929-42CB-A5ED-F10BFA954260}" dt="2022-08-25T11:35:00.085" v="51" actId="700"/>
          <ac:spMkLst>
            <pc:docMk/>
            <pc:sldMk cId="1914322319" sldId="5623"/>
            <ac:spMk id="8" creationId="{DF085D73-9D9D-85D7-018C-F50599ACB509}"/>
          </ac:spMkLst>
        </pc:spChg>
        <pc:spChg chg="add mod ord">
          <ac:chgData name="Andy Tiller" userId="fb0d9df4-6e43-4400-8f6d-09dcce6e1ee1" providerId="ADAL" clId="{F8D5B707-4929-42CB-A5ED-F10BFA954260}" dt="2022-08-25T11:35:00.085" v="51" actId="700"/>
          <ac:spMkLst>
            <pc:docMk/>
            <pc:sldMk cId="1914322319" sldId="5623"/>
            <ac:spMk id="9" creationId="{DFCF6FBB-69E9-B585-0E53-BB96DA10BAA0}"/>
          </ac:spMkLst>
        </pc:spChg>
      </pc:sldChg>
      <pc:sldChg chg="add del">
        <pc:chgData name="Andy Tiller" userId="fb0d9df4-6e43-4400-8f6d-09dcce6e1ee1" providerId="ADAL" clId="{F8D5B707-4929-42CB-A5ED-F10BFA954260}" dt="2022-08-25T11:28:10.418" v="2"/>
        <pc:sldMkLst>
          <pc:docMk/>
          <pc:sldMk cId="2886863770" sldId="5760"/>
        </pc:sldMkLst>
      </pc:sldChg>
      <pc:sldChg chg="delSp modSp add del mod">
        <pc:chgData name="Andy Tiller" userId="fb0d9df4-6e43-4400-8f6d-09dcce6e1ee1" providerId="ADAL" clId="{F8D5B707-4929-42CB-A5ED-F10BFA954260}" dt="2022-08-25T11:32:06.131" v="42" actId="478"/>
        <pc:sldMkLst>
          <pc:docMk/>
          <pc:sldMk cId="2810856189" sldId="5763"/>
        </pc:sldMkLst>
        <pc:spChg chg="del mod">
          <ac:chgData name="Andy Tiller" userId="fb0d9df4-6e43-4400-8f6d-09dcce6e1ee1" providerId="ADAL" clId="{F8D5B707-4929-42CB-A5ED-F10BFA954260}" dt="2022-08-25T11:32:02.855" v="41" actId="478"/>
          <ac:spMkLst>
            <pc:docMk/>
            <pc:sldMk cId="2810856189" sldId="5763"/>
            <ac:spMk id="2" creationId="{6B1255A2-3F2C-4E4B-AA2B-997F6A480AAC}"/>
          </ac:spMkLst>
        </pc:spChg>
        <pc:spChg chg="del mod">
          <ac:chgData name="Andy Tiller" userId="fb0d9df4-6e43-4400-8f6d-09dcce6e1ee1" providerId="ADAL" clId="{F8D5B707-4929-42CB-A5ED-F10BFA954260}" dt="2022-08-25T11:32:06.131" v="42" actId="478"/>
          <ac:spMkLst>
            <pc:docMk/>
            <pc:sldMk cId="2810856189" sldId="5763"/>
            <ac:spMk id="4" creationId="{52E7A86B-C8C2-4B76-B2D2-D27D15DC444C}"/>
          </ac:spMkLst>
        </pc:spChg>
      </pc:sldChg>
      <pc:sldChg chg="delSp new mod modClrScheme chgLayout">
        <pc:chgData name="Andy Tiller" userId="fb0d9df4-6e43-4400-8f6d-09dcce6e1ee1" providerId="ADAL" clId="{F8D5B707-4929-42CB-A5ED-F10BFA954260}" dt="2022-08-25T11:32:22.983" v="44" actId="700"/>
        <pc:sldMkLst>
          <pc:docMk/>
          <pc:sldMk cId="1406703403" sldId="2147470794"/>
        </pc:sldMkLst>
        <pc:spChg chg="del">
          <ac:chgData name="Andy Tiller" userId="fb0d9df4-6e43-4400-8f6d-09dcce6e1ee1" providerId="ADAL" clId="{F8D5B707-4929-42CB-A5ED-F10BFA954260}" dt="2022-08-25T11:32:22.983" v="44" actId="700"/>
          <ac:spMkLst>
            <pc:docMk/>
            <pc:sldMk cId="1406703403" sldId="2147470794"/>
            <ac:spMk id="2" creationId="{0C96E349-92A0-1650-87A0-BC223139BD19}"/>
          </ac:spMkLst>
        </pc:spChg>
      </pc:sldChg>
      <pc:sldMasterChg chg="delSldLayout">
        <pc:chgData name="Andy Tiller" userId="fb0d9df4-6e43-4400-8f6d-09dcce6e1ee1" providerId="ADAL" clId="{F8D5B707-4929-42CB-A5ED-F10BFA954260}" dt="2022-08-25T11:33:01.769" v="46" actId="2696"/>
        <pc:sldMasterMkLst>
          <pc:docMk/>
          <pc:sldMasterMk cId="1514625409" sldId="2147483759"/>
        </pc:sldMasterMkLst>
        <pc:sldLayoutChg chg="del">
          <pc:chgData name="Andy Tiller" userId="fb0d9df4-6e43-4400-8f6d-09dcce6e1ee1" providerId="ADAL" clId="{F8D5B707-4929-42CB-A5ED-F10BFA954260}" dt="2022-08-25T11:32:55.474" v="45" actId="2696"/>
          <pc:sldLayoutMkLst>
            <pc:docMk/>
            <pc:sldMasterMk cId="1514625409" sldId="2147483759"/>
            <pc:sldLayoutMk cId="3078015319" sldId="2147483770"/>
          </pc:sldLayoutMkLst>
        </pc:sldLayoutChg>
        <pc:sldLayoutChg chg="del">
          <pc:chgData name="Andy Tiller" userId="fb0d9df4-6e43-4400-8f6d-09dcce6e1ee1" providerId="ADAL" clId="{F8D5B707-4929-42CB-A5ED-F10BFA954260}" dt="2022-08-25T11:33:01.769" v="46" actId="2696"/>
          <pc:sldLayoutMkLst>
            <pc:docMk/>
            <pc:sldMasterMk cId="1514625409" sldId="2147483759"/>
            <pc:sldLayoutMk cId="2102369124" sldId="2147483771"/>
          </pc:sldLayoutMkLst>
        </pc:sldLayoutChg>
      </pc:sldMasterChg>
      <pc:sldMasterChg chg="addSp delSp modSp mod addSldLayout delSldLayout modSldLayout">
        <pc:chgData name="Andy Tiller" userId="fb0d9df4-6e43-4400-8f6d-09dcce6e1ee1" providerId="ADAL" clId="{F8D5B707-4929-42CB-A5ED-F10BFA954260}" dt="2022-08-25T11:33:34.947" v="50" actId="2696"/>
        <pc:sldMasterMkLst>
          <pc:docMk/>
          <pc:sldMasterMk cId="4040691477" sldId="2147483772"/>
        </pc:sldMasterMkLst>
        <pc:spChg chg="add mod">
          <ac:chgData name="Andy Tiller" userId="fb0d9df4-6e43-4400-8f6d-09dcce6e1ee1" providerId="ADAL" clId="{F8D5B707-4929-42CB-A5ED-F10BFA954260}" dt="2022-08-25T11:30:07.108" v="30"/>
          <ac:spMkLst>
            <pc:docMk/>
            <pc:sldMasterMk cId="4040691477" sldId="2147483772"/>
            <ac:spMk id="3" creationId="{D1A515E0-F62B-0E32-0754-88E9EBDD057B}"/>
          </ac:spMkLst>
        </pc:spChg>
        <pc:spChg chg="del mod">
          <ac:chgData name="Andy Tiller" userId="fb0d9df4-6e43-4400-8f6d-09dcce6e1ee1" providerId="ADAL" clId="{F8D5B707-4929-42CB-A5ED-F10BFA954260}" dt="2022-08-25T11:30:19.678" v="32" actId="478"/>
          <ac:spMkLst>
            <pc:docMk/>
            <pc:sldMasterMk cId="4040691477" sldId="2147483772"/>
            <ac:spMk id="8" creationId="{6302799F-465F-4F45-BE8F-AFE4D2988CC1}"/>
          </ac:spMkLst>
        </pc:spChg>
        <pc:spChg chg="del">
          <ac:chgData name="Andy Tiller" userId="fb0d9df4-6e43-4400-8f6d-09dcce6e1ee1" providerId="ADAL" clId="{F8D5B707-4929-42CB-A5ED-F10BFA954260}" dt="2022-08-25T11:30:06.693" v="29" actId="478"/>
          <ac:spMkLst>
            <pc:docMk/>
            <pc:sldMasterMk cId="4040691477" sldId="2147483772"/>
            <ac:spMk id="9" creationId="{EC4316B0-2D7B-465C-9724-D4EB488C2B7C}"/>
          </ac:spMkLst>
        </pc:spChg>
        <pc:sldLayoutChg chg="add del">
          <pc:chgData name="Andy Tiller" userId="fb0d9df4-6e43-4400-8f6d-09dcce6e1ee1" providerId="ADAL" clId="{F8D5B707-4929-42CB-A5ED-F10BFA954260}" dt="2022-08-25T11:30:38.650" v="34" actId="2696"/>
          <pc:sldLayoutMkLst>
            <pc:docMk/>
            <pc:sldMasterMk cId="4040691477" sldId="2147483772"/>
            <pc:sldLayoutMk cId="2557198758" sldId="2147483773"/>
          </pc:sldLayoutMkLst>
        </pc:sldLayoutChg>
        <pc:sldLayoutChg chg="del">
          <pc:chgData name="Andy Tiller" userId="fb0d9df4-6e43-4400-8f6d-09dcce6e1ee1" providerId="ADAL" clId="{F8D5B707-4929-42CB-A5ED-F10BFA954260}" dt="2022-08-25T11:28:28.342" v="3" actId="2696"/>
          <pc:sldLayoutMkLst>
            <pc:docMk/>
            <pc:sldMasterMk cId="4040691477" sldId="2147483772"/>
            <pc:sldLayoutMk cId="1557239386" sldId="2147483774"/>
          </pc:sldLayoutMkLst>
        </pc:sldLayoutChg>
        <pc:sldLayoutChg chg="del">
          <pc:chgData name="Andy Tiller" userId="fb0d9df4-6e43-4400-8f6d-09dcce6e1ee1" providerId="ADAL" clId="{F8D5B707-4929-42CB-A5ED-F10BFA954260}" dt="2022-08-25T11:28:33.407" v="4" actId="2696"/>
          <pc:sldLayoutMkLst>
            <pc:docMk/>
            <pc:sldMasterMk cId="4040691477" sldId="2147483772"/>
            <pc:sldLayoutMk cId="244171017" sldId="2147483775"/>
          </pc:sldLayoutMkLst>
        </pc:sldLayoutChg>
        <pc:sldLayoutChg chg="del">
          <pc:chgData name="Andy Tiller" userId="fb0d9df4-6e43-4400-8f6d-09dcce6e1ee1" providerId="ADAL" clId="{F8D5B707-4929-42CB-A5ED-F10BFA954260}" dt="2022-08-25T11:28:35.585" v="5" actId="2696"/>
          <pc:sldLayoutMkLst>
            <pc:docMk/>
            <pc:sldMasterMk cId="4040691477" sldId="2147483772"/>
            <pc:sldLayoutMk cId="879692397" sldId="2147483776"/>
          </pc:sldLayoutMkLst>
        </pc:sldLayoutChg>
        <pc:sldLayoutChg chg="del">
          <pc:chgData name="Andy Tiller" userId="fb0d9df4-6e43-4400-8f6d-09dcce6e1ee1" providerId="ADAL" clId="{F8D5B707-4929-42CB-A5ED-F10BFA954260}" dt="2022-08-25T11:28:36.725" v="6" actId="2696"/>
          <pc:sldLayoutMkLst>
            <pc:docMk/>
            <pc:sldMasterMk cId="4040691477" sldId="2147483772"/>
            <pc:sldLayoutMk cId="1213862634" sldId="2147483777"/>
          </pc:sldLayoutMkLst>
        </pc:sldLayoutChg>
        <pc:sldLayoutChg chg="del">
          <pc:chgData name="Andy Tiller" userId="fb0d9df4-6e43-4400-8f6d-09dcce6e1ee1" providerId="ADAL" clId="{F8D5B707-4929-42CB-A5ED-F10BFA954260}" dt="2022-08-25T11:28:38.496" v="7" actId="2696"/>
          <pc:sldLayoutMkLst>
            <pc:docMk/>
            <pc:sldMasterMk cId="4040691477" sldId="2147483772"/>
            <pc:sldLayoutMk cId="787737011" sldId="2147483778"/>
          </pc:sldLayoutMkLst>
        </pc:sldLayoutChg>
        <pc:sldLayoutChg chg="del">
          <pc:chgData name="Andy Tiller" userId="fb0d9df4-6e43-4400-8f6d-09dcce6e1ee1" providerId="ADAL" clId="{F8D5B707-4929-42CB-A5ED-F10BFA954260}" dt="2022-08-25T11:28:45.833" v="8" actId="2696"/>
          <pc:sldLayoutMkLst>
            <pc:docMk/>
            <pc:sldMasterMk cId="4040691477" sldId="2147483772"/>
            <pc:sldLayoutMk cId="2794639079" sldId="2147483780"/>
          </pc:sldLayoutMkLst>
        </pc:sldLayoutChg>
        <pc:sldLayoutChg chg="del">
          <pc:chgData name="Andy Tiller" userId="fb0d9df4-6e43-4400-8f6d-09dcce6e1ee1" providerId="ADAL" clId="{F8D5B707-4929-42CB-A5ED-F10BFA954260}" dt="2022-08-25T11:28:47.531" v="9" actId="2696"/>
          <pc:sldLayoutMkLst>
            <pc:docMk/>
            <pc:sldMasterMk cId="4040691477" sldId="2147483772"/>
            <pc:sldLayoutMk cId="1258815563" sldId="2147483781"/>
          </pc:sldLayoutMkLst>
        </pc:sldLayoutChg>
        <pc:sldLayoutChg chg="del">
          <pc:chgData name="Andy Tiller" userId="fb0d9df4-6e43-4400-8f6d-09dcce6e1ee1" providerId="ADAL" clId="{F8D5B707-4929-42CB-A5ED-F10BFA954260}" dt="2022-08-25T11:28:48.435" v="10" actId="2696"/>
          <pc:sldLayoutMkLst>
            <pc:docMk/>
            <pc:sldMasterMk cId="4040691477" sldId="2147483772"/>
            <pc:sldLayoutMk cId="84940659" sldId="2147483782"/>
          </pc:sldLayoutMkLst>
        </pc:sldLayoutChg>
        <pc:sldLayoutChg chg="del">
          <pc:chgData name="Andy Tiller" userId="fb0d9df4-6e43-4400-8f6d-09dcce6e1ee1" providerId="ADAL" clId="{F8D5B707-4929-42CB-A5ED-F10BFA954260}" dt="2022-08-25T11:28:50.124" v="11" actId="2696"/>
          <pc:sldLayoutMkLst>
            <pc:docMk/>
            <pc:sldMasterMk cId="4040691477" sldId="2147483772"/>
            <pc:sldLayoutMk cId="3571911967" sldId="2147483783"/>
          </pc:sldLayoutMkLst>
        </pc:sldLayoutChg>
        <pc:sldLayoutChg chg="del">
          <pc:chgData name="Andy Tiller" userId="fb0d9df4-6e43-4400-8f6d-09dcce6e1ee1" providerId="ADAL" clId="{F8D5B707-4929-42CB-A5ED-F10BFA954260}" dt="2022-08-25T11:28:51.043" v="12" actId="2696"/>
          <pc:sldLayoutMkLst>
            <pc:docMk/>
            <pc:sldMasterMk cId="4040691477" sldId="2147483772"/>
            <pc:sldLayoutMk cId="1598189887" sldId="2147483784"/>
          </pc:sldLayoutMkLst>
        </pc:sldLayoutChg>
        <pc:sldLayoutChg chg="del">
          <pc:chgData name="Andy Tiller" userId="fb0d9df4-6e43-4400-8f6d-09dcce6e1ee1" providerId="ADAL" clId="{F8D5B707-4929-42CB-A5ED-F10BFA954260}" dt="2022-08-25T11:28:52.868" v="13" actId="2696"/>
          <pc:sldLayoutMkLst>
            <pc:docMk/>
            <pc:sldMasterMk cId="4040691477" sldId="2147483772"/>
            <pc:sldLayoutMk cId="745482317" sldId="2147483785"/>
          </pc:sldLayoutMkLst>
        </pc:sldLayoutChg>
        <pc:sldLayoutChg chg="del">
          <pc:chgData name="Andy Tiller" userId="fb0d9df4-6e43-4400-8f6d-09dcce6e1ee1" providerId="ADAL" clId="{F8D5B707-4929-42CB-A5ED-F10BFA954260}" dt="2022-08-25T11:28:53.787" v="14" actId="2696"/>
          <pc:sldLayoutMkLst>
            <pc:docMk/>
            <pc:sldMasterMk cId="4040691477" sldId="2147483772"/>
            <pc:sldLayoutMk cId="3235564948" sldId="2147483786"/>
          </pc:sldLayoutMkLst>
        </pc:sldLayoutChg>
        <pc:sldLayoutChg chg="del">
          <pc:chgData name="Andy Tiller" userId="fb0d9df4-6e43-4400-8f6d-09dcce6e1ee1" providerId="ADAL" clId="{F8D5B707-4929-42CB-A5ED-F10BFA954260}" dt="2022-08-25T11:28:54.879" v="15" actId="2696"/>
          <pc:sldLayoutMkLst>
            <pc:docMk/>
            <pc:sldMasterMk cId="4040691477" sldId="2147483772"/>
            <pc:sldLayoutMk cId="3841643880" sldId="2147483787"/>
          </pc:sldLayoutMkLst>
        </pc:sldLayoutChg>
        <pc:sldLayoutChg chg="del">
          <pc:chgData name="Andy Tiller" userId="fb0d9df4-6e43-4400-8f6d-09dcce6e1ee1" providerId="ADAL" clId="{F8D5B707-4929-42CB-A5ED-F10BFA954260}" dt="2022-08-25T11:28:56.759" v="16" actId="2696"/>
          <pc:sldLayoutMkLst>
            <pc:docMk/>
            <pc:sldMasterMk cId="4040691477" sldId="2147483772"/>
            <pc:sldLayoutMk cId="1867399544" sldId="2147483788"/>
          </pc:sldLayoutMkLst>
        </pc:sldLayoutChg>
        <pc:sldLayoutChg chg="del">
          <pc:chgData name="Andy Tiller" userId="fb0d9df4-6e43-4400-8f6d-09dcce6e1ee1" providerId="ADAL" clId="{F8D5B707-4929-42CB-A5ED-F10BFA954260}" dt="2022-08-25T11:28:58.074" v="17" actId="2696"/>
          <pc:sldLayoutMkLst>
            <pc:docMk/>
            <pc:sldMasterMk cId="4040691477" sldId="2147483772"/>
            <pc:sldLayoutMk cId="1717344080" sldId="2147483789"/>
          </pc:sldLayoutMkLst>
        </pc:sldLayoutChg>
        <pc:sldLayoutChg chg="addSp modSp">
          <pc:chgData name="Andy Tiller" userId="fb0d9df4-6e43-4400-8f6d-09dcce6e1ee1" providerId="ADAL" clId="{F8D5B707-4929-42CB-A5ED-F10BFA954260}" dt="2022-08-25T11:30:43.201" v="35"/>
          <pc:sldLayoutMkLst>
            <pc:docMk/>
            <pc:sldMasterMk cId="4040691477" sldId="2147483772"/>
            <pc:sldLayoutMk cId="3726967670" sldId="2147483790"/>
          </pc:sldLayoutMkLst>
          <pc:spChg chg="add mod">
            <ac:chgData name="Andy Tiller" userId="fb0d9df4-6e43-4400-8f6d-09dcce6e1ee1" providerId="ADAL" clId="{F8D5B707-4929-42CB-A5ED-F10BFA954260}" dt="2022-08-25T11:30:43.201" v="35"/>
            <ac:spMkLst>
              <pc:docMk/>
              <pc:sldMasterMk cId="4040691477" sldId="2147483772"/>
              <pc:sldLayoutMk cId="3726967670" sldId="2147483790"/>
              <ac:spMk id="4" creationId="{14719F40-3A55-C5AA-2CF9-181D7F514B2B}"/>
            </ac:spMkLst>
          </pc:spChg>
        </pc:sldLayoutChg>
        <pc:sldLayoutChg chg="addSp delSp modSp">
          <pc:chgData name="Andy Tiller" userId="fb0d9df4-6e43-4400-8f6d-09dcce6e1ee1" providerId="ADAL" clId="{F8D5B707-4929-42CB-A5ED-F10BFA954260}" dt="2022-08-25T11:30:51.960" v="38"/>
          <pc:sldLayoutMkLst>
            <pc:docMk/>
            <pc:sldMasterMk cId="4040691477" sldId="2147483772"/>
            <pc:sldLayoutMk cId="2186955819" sldId="2147483791"/>
          </pc:sldLayoutMkLst>
          <pc:spChg chg="add del mod">
            <ac:chgData name="Andy Tiller" userId="fb0d9df4-6e43-4400-8f6d-09dcce6e1ee1" providerId="ADAL" clId="{F8D5B707-4929-42CB-A5ED-F10BFA954260}" dt="2022-08-25T11:30:50.565" v="37"/>
            <ac:spMkLst>
              <pc:docMk/>
              <pc:sldMasterMk cId="4040691477" sldId="2147483772"/>
              <pc:sldLayoutMk cId="2186955819" sldId="2147483791"/>
              <ac:spMk id="4" creationId="{0C523926-E70C-CE3F-C32F-EF74FBB28BF4}"/>
            </ac:spMkLst>
          </pc:spChg>
          <pc:spChg chg="add mod">
            <ac:chgData name="Andy Tiller" userId="fb0d9df4-6e43-4400-8f6d-09dcce6e1ee1" providerId="ADAL" clId="{F8D5B707-4929-42CB-A5ED-F10BFA954260}" dt="2022-08-25T11:30:51.960" v="38"/>
            <ac:spMkLst>
              <pc:docMk/>
              <pc:sldMasterMk cId="4040691477" sldId="2147483772"/>
              <pc:sldLayoutMk cId="2186955819" sldId="2147483791"/>
              <ac:spMk id="5" creationId="{2DCE3E19-A0C4-E4A6-6BDC-1AA5CE53354A}"/>
            </ac:spMkLst>
          </pc:spChg>
        </pc:sldLayoutChg>
        <pc:sldLayoutChg chg="del">
          <pc:chgData name="Andy Tiller" userId="fb0d9df4-6e43-4400-8f6d-09dcce6e1ee1" providerId="ADAL" clId="{F8D5B707-4929-42CB-A5ED-F10BFA954260}" dt="2022-08-25T11:33:34.947" v="50" actId="2696"/>
          <pc:sldLayoutMkLst>
            <pc:docMk/>
            <pc:sldMasterMk cId="4040691477" sldId="2147483772"/>
            <pc:sldLayoutMk cId="2558742079" sldId="2147483792"/>
          </pc:sldLayoutMkLst>
        </pc:sldLayoutChg>
        <pc:sldLayoutChg chg="del">
          <pc:chgData name="Andy Tiller" userId="fb0d9df4-6e43-4400-8f6d-09dcce6e1ee1" providerId="ADAL" clId="{F8D5B707-4929-42CB-A5ED-F10BFA954260}" dt="2022-08-25T11:33:32.279" v="49" actId="2696"/>
          <pc:sldLayoutMkLst>
            <pc:docMk/>
            <pc:sldMasterMk cId="4040691477" sldId="2147483772"/>
            <pc:sldLayoutMk cId="3265254886" sldId="2147483793"/>
          </pc:sldLayoutMkLst>
        </pc:sldLayoutChg>
        <pc:sldLayoutChg chg="del">
          <pc:chgData name="Andy Tiller" userId="fb0d9df4-6e43-4400-8f6d-09dcce6e1ee1" providerId="ADAL" clId="{F8D5B707-4929-42CB-A5ED-F10BFA954260}" dt="2022-08-25T11:33:30.720" v="48" actId="2696"/>
          <pc:sldLayoutMkLst>
            <pc:docMk/>
            <pc:sldMasterMk cId="4040691477" sldId="2147483772"/>
            <pc:sldLayoutMk cId="830445369" sldId="2147483794"/>
          </pc:sldLayoutMkLst>
        </pc:sldLayoutChg>
        <pc:sldLayoutChg chg="del">
          <pc:chgData name="Andy Tiller" userId="fb0d9df4-6e43-4400-8f6d-09dcce6e1ee1" providerId="ADAL" clId="{F8D5B707-4929-42CB-A5ED-F10BFA954260}" dt="2022-08-25T11:33:28.356" v="47" actId="2696"/>
          <pc:sldLayoutMkLst>
            <pc:docMk/>
            <pc:sldMasterMk cId="4040691477" sldId="2147483772"/>
            <pc:sldLayoutMk cId="3131526502" sldId="2147483795"/>
          </pc:sldLayoutMkLst>
        </pc:sldLayoutChg>
        <pc:sldLayoutChg chg="del">
          <pc:chgData name="Andy Tiller" userId="fb0d9df4-6e43-4400-8f6d-09dcce6e1ee1" providerId="ADAL" clId="{F8D5B707-4929-42CB-A5ED-F10BFA954260}" dt="2022-08-25T11:29:22.090" v="18" actId="2696"/>
          <pc:sldLayoutMkLst>
            <pc:docMk/>
            <pc:sldMasterMk cId="4040691477" sldId="2147483772"/>
            <pc:sldLayoutMk cId="1028947157" sldId="2147483796"/>
          </pc:sldLayoutMkLst>
        </pc:sldLayoutChg>
        <pc:sldLayoutChg chg="del">
          <pc:chgData name="Andy Tiller" userId="fb0d9df4-6e43-4400-8f6d-09dcce6e1ee1" providerId="ADAL" clId="{F8D5B707-4929-42CB-A5ED-F10BFA954260}" dt="2022-08-25T11:29:23.555" v="19" actId="2696"/>
          <pc:sldLayoutMkLst>
            <pc:docMk/>
            <pc:sldMasterMk cId="4040691477" sldId="2147483772"/>
            <pc:sldLayoutMk cId="408828259" sldId="2147483797"/>
          </pc:sldLayoutMkLst>
        </pc:sldLayoutChg>
        <pc:sldLayoutChg chg="del">
          <pc:chgData name="Andy Tiller" userId="fb0d9df4-6e43-4400-8f6d-09dcce6e1ee1" providerId="ADAL" clId="{F8D5B707-4929-42CB-A5ED-F10BFA954260}" dt="2022-08-25T11:29:24.384" v="20" actId="2696"/>
          <pc:sldLayoutMkLst>
            <pc:docMk/>
            <pc:sldMasterMk cId="4040691477" sldId="2147483772"/>
            <pc:sldLayoutMk cId="909104794" sldId="2147483798"/>
          </pc:sldLayoutMkLst>
        </pc:sldLayoutChg>
        <pc:sldLayoutChg chg="del">
          <pc:chgData name="Andy Tiller" userId="fb0d9df4-6e43-4400-8f6d-09dcce6e1ee1" providerId="ADAL" clId="{F8D5B707-4929-42CB-A5ED-F10BFA954260}" dt="2022-08-25T11:29:25.403" v="21" actId="2696"/>
          <pc:sldLayoutMkLst>
            <pc:docMk/>
            <pc:sldMasterMk cId="4040691477" sldId="2147483772"/>
            <pc:sldLayoutMk cId="599330044" sldId="2147483799"/>
          </pc:sldLayoutMkLst>
        </pc:sldLayoutChg>
        <pc:sldLayoutChg chg="del">
          <pc:chgData name="Andy Tiller" userId="fb0d9df4-6e43-4400-8f6d-09dcce6e1ee1" providerId="ADAL" clId="{F8D5B707-4929-42CB-A5ED-F10BFA954260}" dt="2022-08-25T11:29:26.308" v="22" actId="2696"/>
          <pc:sldLayoutMkLst>
            <pc:docMk/>
            <pc:sldMasterMk cId="4040691477" sldId="2147483772"/>
            <pc:sldLayoutMk cId="3348535155" sldId="2147483800"/>
          </pc:sldLayoutMkLst>
        </pc:sldLayoutChg>
        <pc:sldLayoutChg chg="del">
          <pc:chgData name="Andy Tiller" userId="fb0d9df4-6e43-4400-8f6d-09dcce6e1ee1" providerId="ADAL" clId="{F8D5B707-4929-42CB-A5ED-F10BFA954260}" dt="2022-08-25T11:29:27.165" v="23" actId="2696"/>
          <pc:sldLayoutMkLst>
            <pc:docMk/>
            <pc:sldMasterMk cId="4040691477" sldId="2147483772"/>
            <pc:sldLayoutMk cId="3999867688" sldId="2147483801"/>
          </pc:sldLayoutMkLst>
        </pc:sldLayoutChg>
        <pc:sldLayoutChg chg="del">
          <pc:chgData name="Andy Tiller" userId="fb0d9df4-6e43-4400-8f6d-09dcce6e1ee1" providerId="ADAL" clId="{F8D5B707-4929-42CB-A5ED-F10BFA954260}" dt="2022-08-25T11:31:01.614" v="39" actId="2696"/>
          <pc:sldLayoutMkLst>
            <pc:docMk/>
            <pc:sldMasterMk cId="4040691477" sldId="2147483772"/>
            <pc:sldLayoutMk cId="4106921790" sldId="2147483802"/>
          </pc:sldLayoutMkLst>
        </pc:sldLayoutChg>
        <pc:sldLayoutChg chg="del">
          <pc:chgData name="Andy Tiller" userId="fb0d9df4-6e43-4400-8f6d-09dcce6e1ee1" providerId="ADAL" clId="{F8D5B707-4929-42CB-A5ED-F10BFA954260}" dt="2022-08-25T11:29:34.046" v="24" actId="2696"/>
          <pc:sldLayoutMkLst>
            <pc:docMk/>
            <pc:sldMasterMk cId="4040691477" sldId="2147483772"/>
            <pc:sldLayoutMk cId="2869975607" sldId="2147483804"/>
          </pc:sldLayoutMkLst>
        </pc:sldLayoutChg>
        <pc:sldLayoutChg chg="del">
          <pc:chgData name="Andy Tiller" userId="fb0d9df4-6e43-4400-8f6d-09dcce6e1ee1" providerId="ADAL" clId="{F8D5B707-4929-42CB-A5ED-F10BFA954260}" dt="2022-08-25T11:29:35.447" v="25" actId="2696"/>
          <pc:sldLayoutMkLst>
            <pc:docMk/>
            <pc:sldMasterMk cId="4040691477" sldId="2147483772"/>
            <pc:sldLayoutMk cId="849180412" sldId="2147483805"/>
          </pc:sldLayoutMkLst>
        </pc:sldLayoutChg>
        <pc:sldLayoutChg chg="del">
          <pc:chgData name="Andy Tiller" userId="fb0d9df4-6e43-4400-8f6d-09dcce6e1ee1" providerId="ADAL" clId="{F8D5B707-4929-42CB-A5ED-F10BFA954260}" dt="2022-08-25T11:29:36.659" v="26" actId="2696"/>
          <pc:sldLayoutMkLst>
            <pc:docMk/>
            <pc:sldMasterMk cId="4040691477" sldId="2147483772"/>
            <pc:sldLayoutMk cId="619868218" sldId="2147483806"/>
          </pc:sldLayoutMkLst>
        </pc:sldLayoutChg>
        <pc:sldLayoutChg chg="del">
          <pc:chgData name="Andy Tiller" userId="fb0d9df4-6e43-4400-8f6d-09dcce6e1ee1" providerId="ADAL" clId="{F8D5B707-4929-42CB-A5ED-F10BFA954260}" dt="2022-08-25T11:29:37.579" v="27" actId="2696"/>
          <pc:sldLayoutMkLst>
            <pc:docMk/>
            <pc:sldMasterMk cId="4040691477" sldId="2147483772"/>
            <pc:sldLayoutMk cId="41912619" sldId="2147483807"/>
          </pc:sldLayoutMkLst>
        </pc:sldLayoutChg>
        <pc:sldLayoutChg chg="del">
          <pc:chgData name="Andy Tiller" userId="fb0d9df4-6e43-4400-8f6d-09dcce6e1ee1" providerId="ADAL" clId="{F8D5B707-4929-42CB-A5ED-F10BFA954260}" dt="2022-08-25T11:29:38.338" v="28" actId="2696"/>
          <pc:sldLayoutMkLst>
            <pc:docMk/>
            <pc:sldMasterMk cId="4040691477" sldId="2147483772"/>
            <pc:sldLayoutMk cId="3360724041" sldId="2147483808"/>
          </pc:sldLayoutMkLst>
        </pc:sldLayoutChg>
      </pc:sldMasterChg>
    </pc:docChg>
  </pc:docChgLst>
  <pc:docChgLst>
    <pc:chgData name="Andy Tiller" userId="fb0d9df4-6e43-4400-8f6d-09dcce6e1ee1" providerId="ADAL" clId="{81BC7487-63B3-4F40-8846-A72EB676B843}"/>
    <pc:docChg chg="addSld delSld modSld">
      <pc:chgData name="Andy Tiller" userId="fb0d9df4-6e43-4400-8f6d-09dcce6e1ee1" providerId="ADAL" clId="{81BC7487-63B3-4F40-8846-A72EB676B843}" dt="2022-08-31T16:35:45.987" v="1" actId="47"/>
      <pc:docMkLst>
        <pc:docMk/>
      </pc:docMkLst>
      <pc:sldChg chg="del">
        <pc:chgData name="Andy Tiller" userId="fb0d9df4-6e43-4400-8f6d-09dcce6e1ee1" providerId="ADAL" clId="{81BC7487-63B3-4F40-8846-A72EB676B843}" dt="2022-08-31T16:35:45.987" v="1" actId="47"/>
        <pc:sldMkLst>
          <pc:docMk/>
          <pc:sldMk cId="1367476509" sldId="2147470791"/>
        </pc:sldMkLst>
      </pc:sldChg>
      <pc:sldChg chg="add">
        <pc:chgData name="Andy Tiller" userId="fb0d9df4-6e43-4400-8f6d-09dcce6e1ee1" providerId="ADAL" clId="{81BC7487-63B3-4F40-8846-A72EB676B843}" dt="2022-08-31T16:35:43.048" v="0"/>
        <pc:sldMkLst>
          <pc:docMk/>
          <pc:sldMk cId="1916260022" sldId="2147470795"/>
        </pc:sldMkLst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02878C8-4833-42CA-916B-F6E8FA3E2029}" type="datetimeFigureOut">
              <a:rPr lang="en-US" smtClean="0"/>
              <a:t>9/14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8DADABD-C688-46CF-9DA6-EAD5470E370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65288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DADABD-C688-46CF-9DA6-EAD5470E370B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026614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DADABD-C688-46CF-9DA6-EAD5470E370B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131143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SM = Server Manager for configuration of different components in </a:t>
            </a:r>
            <a:r>
              <a:rPr lang="en-GB" dirty="0" err="1" smtClean="0"/>
              <a:t>dPCC</a:t>
            </a:r>
            <a:r>
              <a:rPr lang="en-GB" dirty="0" smtClean="0"/>
              <a:t>.</a:t>
            </a:r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DADABD-C688-46CF-9DA6-EAD5470E370B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81103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5.svg"/><Relationship Id="rId4" Type="http://schemas.openxmlformats.org/officeDocument/2006/relationships/image" Target="../media/image8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2.sv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_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id="{D43CBA1E-3BF5-4E22-B046-1DBDB881C5E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210196" y="5602270"/>
            <a:ext cx="2174684" cy="453773"/>
          </a:xfrm>
          <a:prstGeom prst="rect">
            <a:avLst/>
          </a:prstGeom>
        </p:spPr>
      </p:pic>
      <p:sp>
        <p:nvSpPr>
          <p:cNvPr id="8" name="Rectangle: Diagonal Corners Rounded 7">
            <a:extLst>
              <a:ext uri="{FF2B5EF4-FFF2-40B4-BE49-F238E27FC236}">
                <a16:creationId xmlns:a16="http://schemas.microsoft.com/office/drawing/2014/main" id="{CFE4B822-7163-4FB1-B200-81284C130CCD}"/>
              </a:ext>
            </a:extLst>
          </p:cNvPr>
          <p:cNvSpPr/>
          <p:nvPr userDrawn="1"/>
        </p:nvSpPr>
        <p:spPr>
          <a:xfrm flipH="1">
            <a:off x="749147" y="760164"/>
            <a:ext cx="7590622" cy="5310130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75AEEC81-7D64-4CA9-87DC-FF0D7D8D3C3E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1459345" y="2368504"/>
            <a:ext cx="10233891" cy="1815882"/>
          </a:xfrm>
          <a:prstGeom prst="rect">
            <a:avLst/>
          </a:prstGeom>
        </p:spPr>
        <p:txBody>
          <a:bodyPr tIns="0" anchor="t">
            <a:normAutofit/>
          </a:bodyPr>
          <a:lstStyle>
            <a:lvl1pPr marL="0" indent="0">
              <a:lnSpc>
                <a:spcPct val="100000"/>
              </a:lnSpc>
              <a:spcAft>
                <a:spcPts val="600"/>
              </a:spcAft>
              <a:buNone/>
              <a:defRPr sz="11500" b="1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title line two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45C2A7DE-CBC8-453E-980E-B2088B659C91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2132287" y="5154875"/>
            <a:ext cx="6086248" cy="28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20000"/>
              </a:lnSpc>
              <a:buFont typeface="Arial" panose="020B0604020202020204" pitchFamily="34" charset="0"/>
              <a:buNone/>
              <a:defRPr sz="1400" b="0" i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7308F450-F524-46D8-ADA1-3DBD85E3E4A7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2132287" y="4852708"/>
            <a:ext cx="6086248" cy="28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20000"/>
              </a:lnSpc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PRESENTER NAM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E2ED987A-AB96-405A-B8A7-9136BB7499D2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4095551" y="5488462"/>
            <a:ext cx="4122984" cy="28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20000"/>
              </a:lnSpc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365282227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F85AE9C1-2F3B-DDE4-BFB9-D2F7FBFA07E6}"/>
              </a:ext>
            </a:extLst>
          </p:cNvPr>
          <p:cNvSpPr txBox="1"/>
          <p:nvPr userDrawn="1"/>
        </p:nvSpPr>
        <p:spPr>
          <a:xfrm>
            <a:off x="11513417" y="6567263"/>
            <a:ext cx="674254" cy="2616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fld id="{9CF728AB-3CFD-45BF-ABDE-FEDAF7F3D777}" type="slidenum">
              <a:rPr lang="en-US" sz="1100" smtClean="0">
                <a:solidFill>
                  <a:schemeClr val="bg1">
                    <a:lumMod val="50000"/>
                  </a:schemeClr>
                </a:solidFill>
              </a:rPr>
              <a:pPr algn="ctr"/>
              <a:t>‹#›</a:t>
            </a:fld>
            <a:endParaRPr lang="en-US" sz="110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0272362"/>
      </p:ext>
    </p:extLst>
  </p:cSld>
  <p:clrMapOvr>
    <a:masterClrMapping/>
  </p:clrMapOvr>
  <p:hf sldNum="0"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E05BAB61-E280-40FC-A6FF-A837648C74D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636085" y="3405605"/>
            <a:ext cx="3852525" cy="2205431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B001114D-E8B7-453A-9E0F-60CF7845251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740146" y="3689090"/>
            <a:ext cx="3071441" cy="662901"/>
          </a:xfrm>
          <a:prstGeom prst="rect">
            <a:avLst/>
          </a:prstGeom>
        </p:spPr>
        <p:txBody>
          <a:bodyPr rIns="0" anchor="b">
            <a:normAutofit/>
          </a:bodyPr>
          <a:lstStyle>
            <a:lvl1pPr marL="0" indent="0" algn="l">
              <a:buNone/>
              <a:defRPr sz="1200" b="1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FIRSTNAME SURNAME</a:t>
            </a:r>
            <a:endParaRPr lang="en-GB" dirty="0"/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7EF4FB69-962B-455B-84B4-3C36DF8972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40146" y="4313491"/>
            <a:ext cx="3071441" cy="549275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GB" sz="12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Title, Company</a:t>
            </a:r>
            <a:endParaRPr lang="en-GB" dirty="0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4C8BD733-D496-4549-8023-B1C40404632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2401761" y="1290699"/>
            <a:ext cx="4229100" cy="29032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719875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: Diagonal Corners Rounded 7">
            <a:extLst>
              <a:ext uri="{FF2B5EF4-FFF2-40B4-BE49-F238E27FC236}">
                <a16:creationId xmlns:a16="http://schemas.microsoft.com/office/drawing/2014/main" id="{CFE4B822-7163-4FB1-B200-81284C130CCD}"/>
              </a:ext>
            </a:extLst>
          </p:cNvPr>
          <p:cNvSpPr/>
          <p:nvPr userDrawn="1"/>
        </p:nvSpPr>
        <p:spPr>
          <a:xfrm rot="5400000" flipH="1">
            <a:off x="600584" y="513000"/>
            <a:ext cx="5832000" cy="5832000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75AEEC81-7D64-4CA9-87DC-FF0D7D8D3C3E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1836869" y="1794582"/>
            <a:ext cx="8974334" cy="2654612"/>
          </a:xfrm>
          <a:prstGeom prst="rect">
            <a:avLst/>
          </a:prstGeom>
        </p:spPr>
        <p:txBody>
          <a:bodyPr tIns="0" anchor="ctr">
            <a:normAutofit/>
          </a:bodyPr>
          <a:lstStyle>
            <a:lvl1pPr marL="0" indent="0">
              <a:lnSpc>
                <a:spcPct val="90000"/>
              </a:lnSpc>
              <a:buNone/>
              <a:defRPr sz="5400" b="1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This is the start of a new section in the presentation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47794AF5-7F6D-4082-9890-1A8B67307C7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054842" y="5115230"/>
            <a:ext cx="1791397" cy="12297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540023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plit _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FC93B904-0877-41D3-8493-3FF8F1B97181}"/>
              </a:ext>
            </a:extLst>
          </p:cNvPr>
          <p:cNvSpPr/>
          <p:nvPr userDrawn="1"/>
        </p:nvSpPr>
        <p:spPr>
          <a:xfrm>
            <a:off x="6096000" y="0"/>
            <a:ext cx="6096001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FB96E2A-3BEE-4DF4-A947-3D3E3AE658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2852" y="473549"/>
            <a:ext cx="5374743" cy="549275"/>
          </a:xfrm>
        </p:spPr>
        <p:txBody>
          <a:bodyPr>
            <a:noAutofit/>
          </a:bodyPr>
          <a:lstStyle>
            <a:lvl1pPr>
              <a:defRPr sz="20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F3BBDC64-5312-4AF7-B5C8-9A2E16905A22}"/>
              </a:ext>
            </a:extLst>
          </p:cNvPr>
          <p:cNvSpPr/>
          <p:nvPr userDrawn="1"/>
        </p:nvSpPr>
        <p:spPr>
          <a:xfrm>
            <a:off x="11106343" y="6515266"/>
            <a:ext cx="1085657" cy="365604"/>
          </a:xfrm>
          <a:custGeom>
            <a:avLst/>
            <a:gdLst>
              <a:gd name="connsiteX0" fmla="*/ 273887 w 1085657"/>
              <a:gd name="connsiteY0" fmla="*/ 0 h 365604"/>
              <a:gd name="connsiteX1" fmla="*/ 1085657 w 1085657"/>
              <a:gd name="connsiteY1" fmla="*/ 0 h 365604"/>
              <a:gd name="connsiteX2" fmla="*/ 1085657 w 1085657"/>
              <a:gd name="connsiteY2" fmla="*/ 342734 h 365604"/>
              <a:gd name="connsiteX3" fmla="*/ 950 w 1085657"/>
              <a:gd name="connsiteY3" fmla="*/ 342734 h 365604"/>
              <a:gd name="connsiteX4" fmla="*/ 950 w 1085657"/>
              <a:gd name="connsiteY4" fmla="*/ 365604 h 365604"/>
              <a:gd name="connsiteX5" fmla="*/ 0 w 1085657"/>
              <a:gd name="connsiteY5" fmla="*/ 365604 h 365604"/>
              <a:gd name="connsiteX6" fmla="*/ 0 w 1085657"/>
              <a:gd name="connsiteY6" fmla="*/ 273887 h 365604"/>
              <a:gd name="connsiteX7" fmla="*/ 273887 w 1085657"/>
              <a:gd name="connsiteY7" fmla="*/ 0 h 3656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85657" h="365604">
                <a:moveTo>
                  <a:pt x="273887" y="0"/>
                </a:moveTo>
                <a:lnTo>
                  <a:pt x="1085657" y="0"/>
                </a:lnTo>
                <a:lnTo>
                  <a:pt x="1085657" y="342734"/>
                </a:lnTo>
                <a:lnTo>
                  <a:pt x="950" y="342734"/>
                </a:lnTo>
                <a:lnTo>
                  <a:pt x="950" y="365604"/>
                </a:lnTo>
                <a:lnTo>
                  <a:pt x="0" y="365604"/>
                </a:lnTo>
                <a:lnTo>
                  <a:pt x="0" y="273887"/>
                </a:lnTo>
                <a:cubicBezTo>
                  <a:pt x="0" y="122646"/>
                  <a:pt x="122646" y="0"/>
                  <a:pt x="273887" y="0"/>
                </a:cubicBezTo>
                <a:close/>
              </a:path>
            </a:pathLst>
          </a:custGeom>
          <a:solidFill>
            <a:srgbClr val="EDEEF0"/>
          </a:solidFill>
          <a:ln w="13549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B2A0BE9A-6957-4C18-8D2E-3AF468BA96DF}"/>
              </a:ext>
            </a:extLst>
          </p:cNvPr>
          <p:cNvSpPr/>
          <p:nvPr userDrawn="1"/>
        </p:nvSpPr>
        <p:spPr>
          <a:xfrm>
            <a:off x="1" y="6515266"/>
            <a:ext cx="11107293" cy="342735"/>
          </a:xfrm>
          <a:custGeom>
            <a:avLst/>
            <a:gdLst>
              <a:gd name="connsiteX0" fmla="*/ 0 w 11107293"/>
              <a:gd name="connsiteY0" fmla="*/ 0 h 342735"/>
              <a:gd name="connsiteX1" fmla="*/ 10838690 w 11107293"/>
              <a:gd name="connsiteY1" fmla="*/ 0 h 342735"/>
              <a:gd name="connsiteX2" fmla="*/ 11107293 w 11107293"/>
              <a:gd name="connsiteY2" fmla="*/ 268602 h 342735"/>
              <a:gd name="connsiteX3" fmla="*/ 11107293 w 11107293"/>
              <a:gd name="connsiteY3" fmla="*/ 342735 h 342735"/>
              <a:gd name="connsiteX4" fmla="*/ 0 w 11107293"/>
              <a:gd name="connsiteY4" fmla="*/ 342735 h 342735"/>
              <a:gd name="connsiteX5" fmla="*/ 0 w 11107293"/>
              <a:gd name="connsiteY5" fmla="*/ 0 h 3427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107293" h="342735">
                <a:moveTo>
                  <a:pt x="0" y="0"/>
                </a:moveTo>
                <a:lnTo>
                  <a:pt x="10838690" y="0"/>
                </a:lnTo>
                <a:cubicBezTo>
                  <a:pt x="10986950" y="0"/>
                  <a:pt x="11107293" y="120207"/>
                  <a:pt x="11107293" y="268602"/>
                </a:cubicBezTo>
                <a:lnTo>
                  <a:pt x="11107293" y="342735"/>
                </a:lnTo>
                <a:lnTo>
                  <a:pt x="0" y="342735"/>
                </a:lnTo>
                <a:lnTo>
                  <a:pt x="0" y="0"/>
                </a:lnTo>
                <a:close/>
              </a:path>
            </a:pathLst>
          </a:custGeom>
          <a:solidFill>
            <a:srgbClr val="EDEEF0"/>
          </a:solidFill>
          <a:ln w="13549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3D9BF730-AF07-4941-97C7-A3A58C3A8AC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1106344" y="267311"/>
            <a:ext cx="928537" cy="461959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14719F40-3A55-C5AA-2CF9-181D7F514B2B}"/>
              </a:ext>
            </a:extLst>
          </p:cNvPr>
          <p:cNvSpPr txBox="1"/>
          <p:nvPr userDrawn="1"/>
        </p:nvSpPr>
        <p:spPr>
          <a:xfrm>
            <a:off x="10437092" y="6567263"/>
            <a:ext cx="674254" cy="2616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fld id="{9CF728AB-3CFD-45BF-ABDE-FEDAF7F3D777}" type="slidenum">
              <a:rPr lang="en-US" sz="1100" smtClean="0">
                <a:solidFill>
                  <a:schemeClr val="bg1">
                    <a:lumMod val="50000"/>
                  </a:schemeClr>
                </a:solidFill>
              </a:rPr>
              <a:pPr algn="ctr"/>
              <a:t>‹#›</a:t>
            </a:fld>
            <a:endParaRPr lang="en-US" sz="110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69676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665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plit _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FC93B904-0877-41D3-8493-3FF8F1B97181}"/>
              </a:ext>
            </a:extLst>
          </p:cNvPr>
          <p:cNvSpPr/>
          <p:nvPr userDrawn="1"/>
        </p:nvSpPr>
        <p:spPr>
          <a:xfrm>
            <a:off x="6096000" y="0"/>
            <a:ext cx="609600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FB96E2A-3BEE-4DF4-A947-3D3E3AE658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2852" y="473549"/>
            <a:ext cx="5374743" cy="549275"/>
          </a:xfrm>
        </p:spPr>
        <p:txBody>
          <a:bodyPr>
            <a:noAutofit/>
          </a:bodyPr>
          <a:lstStyle>
            <a:lvl1pPr>
              <a:defRPr sz="20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F3BBDC64-5312-4AF7-B5C8-9A2E16905A22}"/>
              </a:ext>
            </a:extLst>
          </p:cNvPr>
          <p:cNvSpPr/>
          <p:nvPr userDrawn="1"/>
        </p:nvSpPr>
        <p:spPr>
          <a:xfrm>
            <a:off x="11106343" y="6515266"/>
            <a:ext cx="1085657" cy="365604"/>
          </a:xfrm>
          <a:custGeom>
            <a:avLst/>
            <a:gdLst>
              <a:gd name="connsiteX0" fmla="*/ 273887 w 1085657"/>
              <a:gd name="connsiteY0" fmla="*/ 0 h 365604"/>
              <a:gd name="connsiteX1" fmla="*/ 1085657 w 1085657"/>
              <a:gd name="connsiteY1" fmla="*/ 0 h 365604"/>
              <a:gd name="connsiteX2" fmla="*/ 1085657 w 1085657"/>
              <a:gd name="connsiteY2" fmla="*/ 342734 h 365604"/>
              <a:gd name="connsiteX3" fmla="*/ 950 w 1085657"/>
              <a:gd name="connsiteY3" fmla="*/ 342734 h 365604"/>
              <a:gd name="connsiteX4" fmla="*/ 950 w 1085657"/>
              <a:gd name="connsiteY4" fmla="*/ 365604 h 365604"/>
              <a:gd name="connsiteX5" fmla="*/ 0 w 1085657"/>
              <a:gd name="connsiteY5" fmla="*/ 365604 h 365604"/>
              <a:gd name="connsiteX6" fmla="*/ 0 w 1085657"/>
              <a:gd name="connsiteY6" fmla="*/ 273887 h 365604"/>
              <a:gd name="connsiteX7" fmla="*/ 273887 w 1085657"/>
              <a:gd name="connsiteY7" fmla="*/ 0 h 3656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85657" h="365604">
                <a:moveTo>
                  <a:pt x="273887" y="0"/>
                </a:moveTo>
                <a:lnTo>
                  <a:pt x="1085657" y="0"/>
                </a:lnTo>
                <a:lnTo>
                  <a:pt x="1085657" y="342734"/>
                </a:lnTo>
                <a:lnTo>
                  <a:pt x="950" y="342734"/>
                </a:lnTo>
                <a:lnTo>
                  <a:pt x="950" y="365604"/>
                </a:lnTo>
                <a:lnTo>
                  <a:pt x="0" y="365604"/>
                </a:lnTo>
                <a:lnTo>
                  <a:pt x="0" y="273887"/>
                </a:lnTo>
                <a:cubicBezTo>
                  <a:pt x="0" y="122646"/>
                  <a:pt x="122646" y="0"/>
                  <a:pt x="273887" y="0"/>
                </a:cubicBezTo>
                <a:close/>
              </a:path>
            </a:pathLst>
          </a:custGeom>
          <a:solidFill>
            <a:srgbClr val="EDEEF0"/>
          </a:solidFill>
          <a:ln w="13549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B2A0BE9A-6957-4C18-8D2E-3AF468BA96DF}"/>
              </a:ext>
            </a:extLst>
          </p:cNvPr>
          <p:cNvSpPr/>
          <p:nvPr userDrawn="1"/>
        </p:nvSpPr>
        <p:spPr>
          <a:xfrm>
            <a:off x="1" y="6515266"/>
            <a:ext cx="11107293" cy="342735"/>
          </a:xfrm>
          <a:custGeom>
            <a:avLst/>
            <a:gdLst>
              <a:gd name="connsiteX0" fmla="*/ 0 w 11107293"/>
              <a:gd name="connsiteY0" fmla="*/ 0 h 342735"/>
              <a:gd name="connsiteX1" fmla="*/ 10838690 w 11107293"/>
              <a:gd name="connsiteY1" fmla="*/ 0 h 342735"/>
              <a:gd name="connsiteX2" fmla="*/ 11107293 w 11107293"/>
              <a:gd name="connsiteY2" fmla="*/ 268602 h 342735"/>
              <a:gd name="connsiteX3" fmla="*/ 11107293 w 11107293"/>
              <a:gd name="connsiteY3" fmla="*/ 342735 h 342735"/>
              <a:gd name="connsiteX4" fmla="*/ 0 w 11107293"/>
              <a:gd name="connsiteY4" fmla="*/ 342735 h 342735"/>
              <a:gd name="connsiteX5" fmla="*/ 0 w 11107293"/>
              <a:gd name="connsiteY5" fmla="*/ 0 h 3427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107293" h="342735">
                <a:moveTo>
                  <a:pt x="0" y="0"/>
                </a:moveTo>
                <a:lnTo>
                  <a:pt x="10838690" y="0"/>
                </a:lnTo>
                <a:cubicBezTo>
                  <a:pt x="10986950" y="0"/>
                  <a:pt x="11107293" y="120207"/>
                  <a:pt x="11107293" y="268602"/>
                </a:cubicBezTo>
                <a:lnTo>
                  <a:pt x="11107293" y="342735"/>
                </a:lnTo>
                <a:lnTo>
                  <a:pt x="0" y="342735"/>
                </a:lnTo>
                <a:lnTo>
                  <a:pt x="0" y="0"/>
                </a:lnTo>
                <a:close/>
              </a:path>
            </a:pathLst>
          </a:custGeom>
          <a:solidFill>
            <a:srgbClr val="EDEEF0"/>
          </a:solidFill>
          <a:ln w="13549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82D205F7-9855-48AC-8AF1-DCE947ACEB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1106343" y="267311"/>
            <a:ext cx="928539" cy="461959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2DCE3E19-A0C4-E4A6-6BDC-1AA5CE53354A}"/>
              </a:ext>
            </a:extLst>
          </p:cNvPr>
          <p:cNvSpPr txBox="1"/>
          <p:nvPr userDrawn="1"/>
        </p:nvSpPr>
        <p:spPr>
          <a:xfrm>
            <a:off x="10437092" y="6567263"/>
            <a:ext cx="674254" cy="2616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fld id="{9CF728AB-3CFD-45BF-ABDE-FEDAF7F3D777}" type="slidenum">
              <a:rPr lang="en-US" sz="1100" smtClean="0">
                <a:solidFill>
                  <a:schemeClr val="bg1">
                    <a:lumMod val="50000"/>
                  </a:schemeClr>
                </a:solidFill>
              </a:rPr>
              <a:pPr algn="ctr"/>
              <a:t>‹#›</a:t>
            </a:fld>
            <a:endParaRPr lang="en-US" sz="110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6955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665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6AF18F6F-69B1-4AAE-BC80-730ECDEF1E4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2197227" cy="6858000"/>
          </a:xfrm>
          <a:prstGeom prst="rect">
            <a:avLst/>
          </a:prstGeom>
        </p:spPr>
      </p:pic>
      <p:pic>
        <p:nvPicPr>
          <p:cNvPr id="5" name="Picture 4" hidden="1">
            <a:extLst>
              <a:ext uri="{FF2B5EF4-FFF2-40B4-BE49-F238E27FC236}">
                <a16:creationId xmlns:a16="http://schemas.microsoft.com/office/drawing/2014/main" id="{EF026EBF-E82D-4484-B5F0-D28644D3A83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2197227" cy="6858000"/>
          </a:xfrm>
          <a:prstGeom prst="rect">
            <a:avLst/>
          </a:prstGeom>
        </p:spPr>
      </p:pic>
      <p:grpSp>
        <p:nvGrpSpPr>
          <p:cNvPr id="2" name="Graphic 11">
            <a:extLst>
              <a:ext uri="{FF2B5EF4-FFF2-40B4-BE49-F238E27FC236}">
                <a16:creationId xmlns:a16="http://schemas.microsoft.com/office/drawing/2014/main" id="{E6358417-DB6E-4A8A-911C-B747D70F2B1D}"/>
              </a:ext>
            </a:extLst>
          </p:cNvPr>
          <p:cNvGrpSpPr/>
          <p:nvPr/>
        </p:nvGrpSpPr>
        <p:grpSpPr>
          <a:xfrm>
            <a:off x="528320" y="549274"/>
            <a:ext cx="5838227" cy="5825202"/>
            <a:chOff x="528320" y="549274"/>
            <a:chExt cx="5838227" cy="5825202"/>
          </a:xfrm>
          <a:solidFill>
            <a:srgbClr val="34AADE"/>
          </a:solidFill>
        </p:grpSpPr>
        <p:sp>
          <p:nvSpPr>
            <p:cNvPr id="3" name="Freeform: Shape 2">
              <a:extLst>
                <a:ext uri="{FF2B5EF4-FFF2-40B4-BE49-F238E27FC236}">
                  <a16:creationId xmlns:a16="http://schemas.microsoft.com/office/drawing/2014/main" id="{591AF625-1FF3-4455-ADF3-6FEDFE0EA0B0}"/>
                </a:ext>
              </a:extLst>
            </p:cNvPr>
            <p:cNvSpPr/>
            <p:nvPr/>
          </p:nvSpPr>
          <p:spPr>
            <a:xfrm>
              <a:off x="528320" y="549274"/>
              <a:ext cx="5825336" cy="5825202"/>
            </a:xfrm>
            <a:custGeom>
              <a:avLst/>
              <a:gdLst>
                <a:gd name="connsiteX0" fmla="*/ 5499849 w 5825336"/>
                <a:gd name="connsiteY0" fmla="*/ 2585637 h 5825202"/>
                <a:gd name="connsiteX1" fmla="*/ 5236533 w 5825336"/>
                <a:gd name="connsiteY1" fmla="*/ 2162799 h 5825202"/>
                <a:gd name="connsiteX2" fmla="*/ 5132736 w 5825336"/>
                <a:gd name="connsiteY2" fmla="*/ 2272369 h 5825202"/>
                <a:gd name="connsiteX3" fmla="*/ 5132736 w 5825336"/>
                <a:gd name="connsiteY3" fmla="*/ 2585637 h 5825202"/>
                <a:gd name="connsiteX4" fmla="*/ 4840550 w 5825336"/>
                <a:gd name="connsiteY4" fmla="*/ 2585637 h 5825202"/>
                <a:gd name="connsiteX5" fmla="*/ 4840550 w 5825336"/>
                <a:gd name="connsiteY5" fmla="*/ 1182309 h 5825202"/>
                <a:gd name="connsiteX6" fmla="*/ 5132736 w 5825336"/>
                <a:gd name="connsiteY6" fmla="*/ 1182309 h 5825202"/>
                <a:gd name="connsiteX7" fmla="*/ 5132736 w 5825336"/>
                <a:gd name="connsiteY7" fmla="*/ 1930097 h 5825202"/>
                <a:gd name="connsiteX8" fmla="*/ 5474874 w 5825336"/>
                <a:gd name="connsiteY8" fmla="*/ 1555196 h 5825202"/>
                <a:gd name="connsiteX9" fmla="*/ 5824665 w 5825336"/>
                <a:gd name="connsiteY9" fmla="*/ 1555196 h 5825202"/>
                <a:gd name="connsiteX10" fmla="*/ 5432577 w 5825336"/>
                <a:gd name="connsiteY10" fmla="*/ 1960846 h 5825202"/>
                <a:gd name="connsiteX11" fmla="*/ 5825203 w 5825336"/>
                <a:gd name="connsiteY11" fmla="*/ 2565630 h 5825202"/>
                <a:gd name="connsiteX12" fmla="*/ 5825203 w 5825336"/>
                <a:gd name="connsiteY12" fmla="*/ 0 h 5825202"/>
                <a:gd name="connsiteX13" fmla="*/ 2901725 w 5825336"/>
                <a:gd name="connsiteY13" fmla="*/ 0 h 5825202"/>
                <a:gd name="connsiteX14" fmla="*/ 0 w 5825336"/>
                <a:gd name="connsiteY14" fmla="*/ 2901725 h 5825202"/>
                <a:gd name="connsiteX15" fmla="*/ 0 w 5825336"/>
                <a:gd name="connsiteY15" fmla="*/ 5825202 h 5825202"/>
                <a:gd name="connsiteX16" fmla="*/ 2919718 w 5825336"/>
                <a:gd name="connsiteY16" fmla="*/ 5825202 h 5825202"/>
                <a:gd name="connsiteX17" fmla="*/ 5825337 w 5825336"/>
                <a:gd name="connsiteY17" fmla="*/ 2919583 h 5825202"/>
                <a:gd name="connsiteX18" fmla="*/ 5825337 w 5825336"/>
                <a:gd name="connsiteY18" fmla="*/ 2585503 h 5825202"/>
                <a:gd name="connsiteX19" fmla="*/ 5499849 w 5825336"/>
                <a:gd name="connsiteY19" fmla="*/ 2585503 h 5825202"/>
                <a:gd name="connsiteX20" fmla="*/ 2597185 w 5825336"/>
                <a:gd name="connsiteY20" fmla="*/ 2285796 h 5825202"/>
                <a:gd name="connsiteX21" fmla="*/ 3012369 w 5825336"/>
                <a:gd name="connsiteY21" fmla="*/ 1957086 h 5825202"/>
                <a:gd name="connsiteX22" fmla="*/ 3264138 w 5825336"/>
                <a:gd name="connsiteY22" fmla="*/ 1999384 h 5825202"/>
                <a:gd name="connsiteX23" fmla="*/ 3264138 w 5825336"/>
                <a:gd name="connsiteY23" fmla="*/ 1982062 h 5825202"/>
                <a:gd name="connsiteX24" fmla="*/ 3043119 w 5825336"/>
                <a:gd name="connsiteY24" fmla="*/ 1793671 h 5825202"/>
                <a:gd name="connsiteX25" fmla="*/ 2758586 w 5825336"/>
                <a:gd name="connsiteY25" fmla="*/ 1849396 h 5825202"/>
                <a:gd name="connsiteX26" fmla="*/ 2685539 w 5825336"/>
                <a:gd name="connsiteY26" fmla="*/ 1626362 h 5825202"/>
                <a:gd name="connsiteX27" fmla="*/ 3085416 w 5825336"/>
                <a:gd name="connsiteY27" fmla="*/ 1543648 h 5825202"/>
                <a:gd name="connsiteX28" fmla="*/ 3433327 w 5825336"/>
                <a:gd name="connsiteY28" fmla="*/ 1658992 h 5825202"/>
                <a:gd name="connsiteX29" fmla="*/ 3544777 w 5825336"/>
                <a:gd name="connsiteY29" fmla="*/ 1987702 h 5825202"/>
                <a:gd name="connsiteX30" fmla="*/ 3544777 w 5825336"/>
                <a:gd name="connsiteY30" fmla="*/ 2585503 h 5825202"/>
                <a:gd name="connsiteX31" fmla="*/ 3262258 w 5825336"/>
                <a:gd name="connsiteY31" fmla="*/ 2585503 h 5825202"/>
                <a:gd name="connsiteX32" fmla="*/ 3262258 w 5825336"/>
                <a:gd name="connsiteY32" fmla="*/ 2474053 h 5825202"/>
                <a:gd name="connsiteX33" fmla="*/ 2950870 w 5825336"/>
                <a:gd name="connsiteY33" fmla="*/ 2604704 h 5825202"/>
                <a:gd name="connsiteX34" fmla="*/ 2597185 w 5825336"/>
                <a:gd name="connsiteY34" fmla="*/ 2289422 h 5825202"/>
                <a:gd name="connsiteX35" fmla="*/ 2597185 w 5825336"/>
                <a:gd name="connsiteY35" fmla="*/ 2285796 h 5825202"/>
                <a:gd name="connsiteX36" fmla="*/ 1399703 w 5825336"/>
                <a:gd name="connsiteY36" fmla="*/ 1805219 h 5825202"/>
                <a:gd name="connsiteX37" fmla="*/ 1157467 w 5825336"/>
                <a:gd name="connsiteY37" fmla="*/ 1805219 h 5825202"/>
                <a:gd name="connsiteX38" fmla="*/ 1157467 w 5825336"/>
                <a:gd name="connsiteY38" fmla="*/ 2245379 h 5825202"/>
                <a:gd name="connsiteX39" fmla="*/ 1251730 w 5825336"/>
                <a:gd name="connsiteY39" fmla="*/ 2345281 h 5825202"/>
                <a:gd name="connsiteX40" fmla="*/ 1395943 w 5825336"/>
                <a:gd name="connsiteY40" fmla="*/ 2308758 h 5825202"/>
                <a:gd name="connsiteX41" fmla="*/ 1395943 w 5825336"/>
                <a:gd name="connsiteY41" fmla="*/ 2543340 h 5825202"/>
                <a:gd name="connsiteX42" fmla="*/ 1165255 w 5825336"/>
                <a:gd name="connsiteY42" fmla="*/ 2602959 h 5825202"/>
                <a:gd name="connsiteX43" fmla="*/ 865415 w 5825336"/>
                <a:gd name="connsiteY43" fmla="*/ 2293450 h 5825202"/>
                <a:gd name="connsiteX44" fmla="*/ 865415 w 5825336"/>
                <a:gd name="connsiteY44" fmla="*/ 1805219 h 5825202"/>
                <a:gd name="connsiteX45" fmla="*/ 742417 w 5825336"/>
                <a:gd name="connsiteY45" fmla="*/ 1805219 h 5825202"/>
                <a:gd name="connsiteX46" fmla="*/ 742417 w 5825336"/>
                <a:gd name="connsiteY46" fmla="*/ 1555330 h 5825202"/>
                <a:gd name="connsiteX47" fmla="*/ 865415 w 5825336"/>
                <a:gd name="connsiteY47" fmla="*/ 1555330 h 5825202"/>
                <a:gd name="connsiteX48" fmla="*/ 865415 w 5825336"/>
                <a:gd name="connsiteY48" fmla="*/ 1291878 h 5825202"/>
                <a:gd name="connsiteX49" fmla="*/ 1157467 w 5825336"/>
                <a:gd name="connsiteY49" fmla="*/ 1291878 h 5825202"/>
                <a:gd name="connsiteX50" fmla="*/ 1157467 w 5825336"/>
                <a:gd name="connsiteY50" fmla="*/ 1555196 h 5825202"/>
                <a:gd name="connsiteX51" fmla="*/ 1399703 w 5825336"/>
                <a:gd name="connsiteY51" fmla="*/ 1555196 h 5825202"/>
                <a:gd name="connsiteX52" fmla="*/ 1399703 w 5825336"/>
                <a:gd name="connsiteY52" fmla="*/ 1805219 h 5825202"/>
                <a:gd name="connsiteX53" fmla="*/ 1830329 w 5825336"/>
                <a:gd name="connsiteY53" fmla="*/ 2010931 h 5825202"/>
                <a:gd name="connsiteX54" fmla="*/ 1830329 w 5825336"/>
                <a:gd name="connsiteY54" fmla="*/ 2585637 h 5825202"/>
                <a:gd name="connsiteX55" fmla="*/ 1538142 w 5825336"/>
                <a:gd name="connsiteY55" fmla="*/ 2585637 h 5825202"/>
                <a:gd name="connsiteX56" fmla="*/ 1538142 w 5825336"/>
                <a:gd name="connsiteY56" fmla="*/ 1182309 h 5825202"/>
                <a:gd name="connsiteX57" fmla="*/ 1830329 w 5825336"/>
                <a:gd name="connsiteY57" fmla="*/ 1182309 h 5825202"/>
                <a:gd name="connsiteX58" fmla="*/ 1830329 w 5825336"/>
                <a:gd name="connsiteY58" fmla="*/ 1701289 h 5825202"/>
                <a:gd name="connsiteX59" fmla="*/ 2132184 w 5825336"/>
                <a:gd name="connsiteY59" fmla="*/ 1535994 h 5825202"/>
                <a:gd name="connsiteX60" fmla="*/ 2481975 w 5825336"/>
                <a:gd name="connsiteY60" fmla="*/ 1918549 h 5825202"/>
                <a:gd name="connsiteX61" fmla="*/ 2481975 w 5825336"/>
                <a:gd name="connsiteY61" fmla="*/ 2585637 h 5825202"/>
                <a:gd name="connsiteX62" fmla="*/ 2189789 w 5825336"/>
                <a:gd name="connsiteY62" fmla="*/ 2585637 h 5825202"/>
                <a:gd name="connsiteX63" fmla="*/ 2189789 w 5825336"/>
                <a:gd name="connsiteY63" fmla="*/ 2010931 h 5825202"/>
                <a:gd name="connsiteX64" fmla="*/ 2012946 w 5825336"/>
                <a:gd name="connsiteY64" fmla="*/ 1801459 h 5825202"/>
                <a:gd name="connsiteX65" fmla="*/ 1830329 w 5825336"/>
                <a:gd name="connsiteY65" fmla="*/ 2010931 h 5825202"/>
                <a:gd name="connsiteX66" fmla="*/ 2561601 w 5825336"/>
                <a:gd name="connsiteY66" fmla="*/ 3706178 h 5825202"/>
                <a:gd name="connsiteX67" fmla="*/ 2223224 w 5825336"/>
                <a:gd name="connsiteY67" fmla="*/ 3994471 h 5825202"/>
                <a:gd name="connsiteX68" fmla="*/ 1963666 w 5825336"/>
                <a:gd name="connsiteY68" fmla="*/ 3923304 h 5825202"/>
                <a:gd name="connsiteX69" fmla="*/ 2061688 w 5825336"/>
                <a:gd name="connsiteY69" fmla="*/ 3711817 h 5825202"/>
                <a:gd name="connsiteX70" fmla="*/ 2186700 w 5825336"/>
                <a:gd name="connsiteY70" fmla="*/ 3752235 h 5825202"/>
                <a:gd name="connsiteX71" fmla="*/ 2288616 w 5825336"/>
                <a:gd name="connsiteY71" fmla="*/ 3684962 h 5825202"/>
                <a:gd name="connsiteX72" fmla="*/ 1884980 w 5825336"/>
                <a:gd name="connsiteY72" fmla="*/ 2650761 h 5825202"/>
                <a:gd name="connsiteX73" fmla="*/ 2194488 w 5825336"/>
                <a:gd name="connsiteY73" fmla="*/ 2650761 h 5825202"/>
                <a:gd name="connsiteX74" fmla="*/ 2429070 w 5825336"/>
                <a:gd name="connsiteY74" fmla="*/ 3352358 h 5825202"/>
                <a:gd name="connsiteX75" fmla="*/ 2653984 w 5825336"/>
                <a:gd name="connsiteY75" fmla="*/ 2650761 h 5825202"/>
                <a:gd name="connsiteX76" fmla="*/ 2957718 w 5825336"/>
                <a:gd name="connsiteY76" fmla="*/ 2650761 h 5825202"/>
                <a:gd name="connsiteX77" fmla="*/ 2561601 w 5825336"/>
                <a:gd name="connsiteY77" fmla="*/ 3706178 h 5825202"/>
                <a:gd name="connsiteX78" fmla="*/ 4061072 w 5825336"/>
                <a:gd name="connsiteY78" fmla="*/ 3167862 h 5825202"/>
                <a:gd name="connsiteX79" fmla="*/ 3501674 w 5825336"/>
                <a:gd name="connsiteY79" fmla="*/ 3704163 h 5825202"/>
                <a:gd name="connsiteX80" fmla="*/ 2946171 w 5825336"/>
                <a:gd name="connsiteY80" fmla="*/ 3171756 h 5825202"/>
                <a:gd name="connsiteX81" fmla="*/ 2946171 w 5825336"/>
                <a:gd name="connsiteY81" fmla="*/ 3167862 h 5825202"/>
                <a:gd name="connsiteX82" fmla="*/ 3505568 w 5825336"/>
                <a:gd name="connsiteY82" fmla="*/ 2631559 h 5825202"/>
                <a:gd name="connsiteX83" fmla="*/ 4061072 w 5825336"/>
                <a:gd name="connsiteY83" fmla="*/ 3163968 h 5825202"/>
                <a:gd name="connsiteX84" fmla="*/ 4061072 w 5825336"/>
                <a:gd name="connsiteY84" fmla="*/ 3167862 h 5825202"/>
                <a:gd name="connsiteX85" fmla="*/ 4012061 w 5825336"/>
                <a:gd name="connsiteY85" fmla="*/ 2010931 h 5825202"/>
                <a:gd name="connsiteX86" fmla="*/ 4012061 w 5825336"/>
                <a:gd name="connsiteY86" fmla="*/ 2585637 h 5825202"/>
                <a:gd name="connsiteX87" fmla="*/ 3719874 w 5825336"/>
                <a:gd name="connsiteY87" fmla="*/ 2585637 h 5825202"/>
                <a:gd name="connsiteX88" fmla="*/ 3719874 w 5825336"/>
                <a:gd name="connsiteY88" fmla="*/ 1555330 h 5825202"/>
                <a:gd name="connsiteX89" fmla="*/ 4012061 w 5825336"/>
                <a:gd name="connsiteY89" fmla="*/ 1555330 h 5825202"/>
                <a:gd name="connsiteX90" fmla="*/ 4012061 w 5825336"/>
                <a:gd name="connsiteY90" fmla="*/ 1701423 h 5825202"/>
                <a:gd name="connsiteX91" fmla="*/ 4313915 w 5825336"/>
                <a:gd name="connsiteY91" fmla="*/ 1536128 h 5825202"/>
                <a:gd name="connsiteX92" fmla="*/ 4663707 w 5825336"/>
                <a:gd name="connsiteY92" fmla="*/ 1918683 h 5825202"/>
                <a:gd name="connsiteX93" fmla="*/ 4663707 w 5825336"/>
                <a:gd name="connsiteY93" fmla="*/ 2585771 h 5825202"/>
                <a:gd name="connsiteX94" fmla="*/ 4371520 w 5825336"/>
                <a:gd name="connsiteY94" fmla="*/ 2585771 h 5825202"/>
                <a:gd name="connsiteX95" fmla="*/ 4371520 w 5825336"/>
                <a:gd name="connsiteY95" fmla="*/ 2011066 h 5825202"/>
                <a:gd name="connsiteX96" fmla="*/ 4194678 w 5825336"/>
                <a:gd name="connsiteY96" fmla="*/ 1801594 h 5825202"/>
                <a:gd name="connsiteX97" fmla="*/ 4012061 w 5825336"/>
                <a:gd name="connsiteY97" fmla="*/ 2010931 h 5825202"/>
                <a:gd name="connsiteX98" fmla="*/ 5131796 w 5825336"/>
                <a:gd name="connsiteY98" fmla="*/ 3681202 h 5825202"/>
                <a:gd name="connsiteX99" fmla="*/ 4839610 w 5825336"/>
                <a:gd name="connsiteY99" fmla="*/ 3681202 h 5825202"/>
                <a:gd name="connsiteX100" fmla="*/ 4839610 w 5825336"/>
                <a:gd name="connsiteY100" fmla="*/ 3535109 h 5825202"/>
                <a:gd name="connsiteX101" fmla="*/ 4537755 w 5825336"/>
                <a:gd name="connsiteY101" fmla="*/ 3700404 h 5825202"/>
                <a:gd name="connsiteX102" fmla="*/ 4187964 w 5825336"/>
                <a:gd name="connsiteY102" fmla="*/ 3317849 h 5825202"/>
                <a:gd name="connsiteX103" fmla="*/ 4187964 w 5825336"/>
                <a:gd name="connsiteY103" fmla="*/ 2650761 h 5825202"/>
                <a:gd name="connsiteX104" fmla="*/ 4480150 w 5825336"/>
                <a:gd name="connsiteY104" fmla="*/ 2650761 h 5825202"/>
                <a:gd name="connsiteX105" fmla="*/ 4480150 w 5825336"/>
                <a:gd name="connsiteY105" fmla="*/ 3225466 h 5825202"/>
                <a:gd name="connsiteX106" fmla="*/ 4656993 w 5825336"/>
                <a:gd name="connsiteY106" fmla="*/ 3434938 h 5825202"/>
                <a:gd name="connsiteX107" fmla="*/ 4839610 w 5825336"/>
                <a:gd name="connsiteY107" fmla="*/ 3225466 h 5825202"/>
                <a:gd name="connsiteX108" fmla="*/ 4839610 w 5825336"/>
                <a:gd name="connsiteY108" fmla="*/ 2650761 h 5825202"/>
                <a:gd name="connsiteX109" fmla="*/ 5131796 w 5825336"/>
                <a:gd name="connsiteY109" fmla="*/ 2650761 h 5825202"/>
                <a:gd name="connsiteX110" fmla="*/ 5131796 w 5825336"/>
                <a:gd name="connsiteY110" fmla="*/ 3681202 h 58252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</a:cxnLst>
              <a:rect l="l" t="t" r="r" b="b"/>
              <a:pathLst>
                <a:path w="5825336" h="5825202">
                  <a:moveTo>
                    <a:pt x="5499849" y="2585637"/>
                  </a:moveTo>
                  <a:lnTo>
                    <a:pt x="5236533" y="2162799"/>
                  </a:lnTo>
                  <a:lnTo>
                    <a:pt x="5132736" y="2272369"/>
                  </a:lnTo>
                  <a:lnTo>
                    <a:pt x="5132736" y="2585637"/>
                  </a:lnTo>
                  <a:lnTo>
                    <a:pt x="4840550" y="2585637"/>
                  </a:lnTo>
                  <a:lnTo>
                    <a:pt x="4840550" y="1182309"/>
                  </a:lnTo>
                  <a:lnTo>
                    <a:pt x="5132736" y="1182309"/>
                  </a:lnTo>
                  <a:lnTo>
                    <a:pt x="5132736" y="1930097"/>
                  </a:lnTo>
                  <a:lnTo>
                    <a:pt x="5474874" y="1555196"/>
                  </a:lnTo>
                  <a:lnTo>
                    <a:pt x="5824665" y="1555196"/>
                  </a:lnTo>
                  <a:lnTo>
                    <a:pt x="5432577" y="1960846"/>
                  </a:lnTo>
                  <a:lnTo>
                    <a:pt x="5825203" y="2565630"/>
                  </a:lnTo>
                  <a:lnTo>
                    <a:pt x="5825203" y="0"/>
                  </a:lnTo>
                  <a:lnTo>
                    <a:pt x="2901725" y="0"/>
                  </a:lnTo>
                  <a:cubicBezTo>
                    <a:pt x="1299129" y="0"/>
                    <a:pt x="0" y="1299129"/>
                    <a:pt x="0" y="2901725"/>
                  </a:cubicBezTo>
                  <a:lnTo>
                    <a:pt x="0" y="5825202"/>
                  </a:lnTo>
                  <a:lnTo>
                    <a:pt x="2919718" y="5825202"/>
                  </a:lnTo>
                  <a:cubicBezTo>
                    <a:pt x="4524462" y="5825202"/>
                    <a:pt x="5825337" y="4524327"/>
                    <a:pt x="5825337" y="2919583"/>
                  </a:cubicBezTo>
                  <a:lnTo>
                    <a:pt x="5825337" y="2585503"/>
                  </a:lnTo>
                  <a:lnTo>
                    <a:pt x="5499849" y="2585503"/>
                  </a:lnTo>
                  <a:close/>
                  <a:moveTo>
                    <a:pt x="2597185" y="2285796"/>
                  </a:moveTo>
                  <a:cubicBezTo>
                    <a:pt x="2597185" y="2060882"/>
                    <a:pt x="2768254" y="1957086"/>
                    <a:pt x="3012369" y="1957086"/>
                  </a:cubicBezTo>
                  <a:cubicBezTo>
                    <a:pt x="3116165" y="1957086"/>
                    <a:pt x="3191092" y="1974408"/>
                    <a:pt x="3264138" y="1999384"/>
                  </a:cubicBezTo>
                  <a:lnTo>
                    <a:pt x="3264138" y="1982062"/>
                  </a:lnTo>
                  <a:cubicBezTo>
                    <a:pt x="3264138" y="1860944"/>
                    <a:pt x="3189212" y="1793671"/>
                    <a:pt x="3043119" y="1793671"/>
                  </a:cubicBezTo>
                  <a:cubicBezTo>
                    <a:pt x="2931669" y="1793671"/>
                    <a:pt x="2852848" y="1814753"/>
                    <a:pt x="2758586" y="1849396"/>
                  </a:cubicBezTo>
                  <a:lnTo>
                    <a:pt x="2685539" y="1626362"/>
                  </a:lnTo>
                  <a:cubicBezTo>
                    <a:pt x="2799003" y="1576411"/>
                    <a:pt x="2910453" y="1543648"/>
                    <a:pt x="3085416" y="1543648"/>
                  </a:cubicBezTo>
                  <a:cubicBezTo>
                    <a:pt x="3244937" y="1543648"/>
                    <a:pt x="3360281" y="1585945"/>
                    <a:pt x="3433327" y="1658992"/>
                  </a:cubicBezTo>
                  <a:cubicBezTo>
                    <a:pt x="3510268" y="1735932"/>
                    <a:pt x="3544777" y="1849262"/>
                    <a:pt x="3544777" y="1987702"/>
                  </a:cubicBezTo>
                  <a:lnTo>
                    <a:pt x="3544777" y="2585503"/>
                  </a:lnTo>
                  <a:lnTo>
                    <a:pt x="3262258" y="2585503"/>
                  </a:lnTo>
                  <a:lnTo>
                    <a:pt x="3262258" y="2474053"/>
                  </a:lnTo>
                  <a:cubicBezTo>
                    <a:pt x="3191092" y="2552873"/>
                    <a:pt x="3093070" y="2604704"/>
                    <a:pt x="2950870" y="2604704"/>
                  </a:cubicBezTo>
                  <a:cubicBezTo>
                    <a:pt x="2756706" y="2604704"/>
                    <a:pt x="2597185" y="2493254"/>
                    <a:pt x="2597185" y="2289422"/>
                  </a:cubicBezTo>
                  <a:lnTo>
                    <a:pt x="2597185" y="2285796"/>
                  </a:lnTo>
                  <a:close/>
                  <a:moveTo>
                    <a:pt x="1399703" y="1805219"/>
                  </a:moveTo>
                  <a:lnTo>
                    <a:pt x="1157467" y="1805219"/>
                  </a:lnTo>
                  <a:lnTo>
                    <a:pt x="1157467" y="2245379"/>
                  </a:lnTo>
                  <a:cubicBezTo>
                    <a:pt x="1157467" y="2312652"/>
                    <a:pt x="1186337" y="2345281"/>
                    <a:pt x="1251730" y="2345281"/>
                  </a:cubicBezTo>
                  <a:cubicBezTo>
                    <a:pt x="1305575" y="2345281"/>
                    <a:pt x="1353646" y="2331853"/>
                    <a:pt x="1395943" y="2308758"/>
                  </a:cubicBezTo>
                  <a:lnTo>
                    <a:pt x="1395943" y="2543340"/>
                  </a:lnTo>
                  <a:cubicBezTo>
                    <a:pt x="1334444" y="2579863"/>
                    <a:pt x="1263278" y="2602959"/>
                    <a:pt x="1165255" y="2602959"/>
                  </a:cubicBezTo>
                  <a:cubicBezTo>
                    <a:pt x="986533" y="2602959"/>
                    <a:pt x="865415" y="2531792"/>
                    <a:pt x="865415" y="2293450"/>
                  </a:cubicBezTo>
                  <a:lnTo>
                    <a:pt x="865415" y="1805219"/>
                  </a:lnTo>
                  <a:lnTo>
                    <a:pt x="742417" y="1805219"/>
                  </a:lnTo>
                  <a:lnTo>
                    <a:pt x="742417" y="1555330"/>
                  </a:lnTo>
                  <a:lnTo>
                    <a:pt x="865415" y="1555330"/>
                  </a:lnTo>
                  <a:lnTo>
                    <a:pt x="865415" y="1291878"/>
                  </a:lnTo>
                  <a:lnTo>
                    <a:pt x="1157467" y="1291878"/>
                  </a:lnTo>
                  <a:lnTo>
                    <a:pt x="1157467" y="1555196"/>
                  </a:lnTo>
                  <a:lnTo>
                    <a:pt x="1399703" y="1555196"/>
                  </a:lnTo>
                  <a:lnTo>
                    <a:pt x="1399703" y="1805219"/>
                  </a:lnTo>
                  <a:close/>
                  <a:moveTo>
                    <a:pt x="1830329" y="2010931"/>
                  </a:moveTo>
                  <a:lnTo>
                    <a:pt x="1830329" y="2585637"/>
                  </a:lnTo>
                  <a:lnTo>
                    <a:pt x="1538142" y="2585637"/>
                  </a:lnTo>
                  <a:lnTo>
                    <a:pt x="1538142" y="1182309"/>
                  </a:lnTo>
                  <a:lnTo>
                    <a:pt x="1830329" y="1182309"/>
                  </a:lnTo>
                  <a:lnTo>
                    <a:pt x="1830329" y="1701289"/>
                  </a:lnTo>
                  <a:cubicBezTo>
                    <a:pt x="1897602" y="1614815"/>
                    <a:pt x="1984076" y="1535994"/>
                    <a:pt x="2132184" y="1535994"/>
                  </a:cubicBezTo>
                  <a:cubicBezTo>
                    <a:pt x="2353204" y="1535994"/>
                    <a:pt x="2481975" y="1682087"/>
                    <a:pt x="2481975" y="1918549"/>
                  </a:cubicBezTo>
                  <a:lnTo>
                    <a:pt x="2481975" y="2585637"/>
                  </a:lnTo>
                  <a:lnTo>
                    <a:pt x="2189789" y="2585637"/>
                  </a:lnTo>
                  <a:lnTo>
                    <a:pt x="2189789" y="2010931"/>
                  </a:lnTo>
                  <a:cubicBezTo>
                    <a:pt x="2189789" y="1872492"/>
                    <a:pt x="2124396" y="1801459"/>
                    <a:pt x="2012946" y="1801459"/>
                  </a:cubicBezTo>
                  <a:cubicBezTo>
                    <a:pt x="1901496" y="1801459"/>
                    <a:pt x="1830329" y="1872492"/>
                    <a:pt x="1830329" y="2010931"/>
                  </a:cubicBezTo>
                  <a:close/>
                  <a:moveTo>
                    <a:pt x="2561601" y="3706178"/>
                  </a:moveTo>
                  <a:cubicBezTo>
                    <a:pt x="2482781" y="3915650"/>
                    <a:pt x="2398186" y="3994471"/>
                    <a:pt x="2223224" y="3994471"/>
                  </a:cubicBezTo>
                  <a:cubicBezTo>
                    <a:pt x="2117547" y="3994471"/>
                    <a:pt x="2038727" y="3967615"/>
                    <a:pt x="1963666" y="3923304"/>
                  </a:cubicBezTo>
                  <a:lnTo>
                    <a:pt x="2061688" y="3711817"/>
                  </a:lnTo>
                  <a:cubicBezTo>
                    <a:pt x="2100091" y="3734913"/>
                    <a:pt x="2148163" y="3752235"/>
                    <a:pt x="2186700" y="3752235"/>
                  </a:cubicBezTo>
                  <a:cubicBezTo>
                    <a:pt x="2236651" y="3752235"/>
                    <a:pt x="2263641" y="3736793"/>
                    <a:pt x="2288616" y="3684962"/>
                  </a:cubicBezTo>
                  <a:lnTo>
                    <a:pt x="1884980" y="2650761"/>
                  </a:lnTo>
                  <a:lnTo>
                    <a:pt x="2194488" y="2650761"/>
                  </a:lnTo>
                  <a:lnTo>
                    <a:pt x="2429070" y="3352358"/>
                  </a:lnTo>
                  <a:lnTo>
                    <a:pt x="2653984" y="2650761"/>
                  </a:lnTo>
                  <a:lnTo>
                    <a:pt x="2957718" y="2650761"/>
                  </a:lnTo>
                  <a:lnTo>
                    <a:pt x="2561601" y="3706178"/>
                  </a:lnTo>
                  <a:close/>
                  <a:moveTo>
                    <a:pt x="4061072" y="3167862"/>
                  </a:moveTo>
                  <a:cubicBezTo>
                    <a:pt x="4061072" y="3463942"/>
                    <a:pt x="3822730" y="3704163"/>
                    <a:pt x="3501674" y="3704163"/>
                  </a:cubicBezTo>
                  <a:cubicBezTo>
                    <a:pt x="3182632" y="3704163"/>
                    <a:pt x="2946171" y="3467702"/>
                    <a:pt x="2946171" y="3171756"/>
                  </a:cubicBezTo>
                  <a:lnTo>
                    <a:pt x="2946171" y="3167862"/>
                  </a:lnTo>
                  <a:cubicBezTo>
                    <a:pt x="2946171" y="2871781"/>
                    <a:pt x="3184512" y="2631559"/>
                    <a:pt x="3505568" y="2631559"/>
                  </a:cubicBezTo>
                  <a:cubicBezTo>
                    <a:pt x="3824610" y="2631559"/>
                    <a:pt x="4061072" y="2868021"/>
                    <a:pt x="4061072" y="3163968"/>
                  </a:cubicBezTo>
                  <a:lnTo>
                    <a:pt x="4061072" y="3167862"/>
                  </a:lnTo>
                  <a:close/>
                  <a:moveTo>
                    <a:pt x="4012061" y="2010931"/>
                  </a:moveTo>
                  <a:lnTo>
                    <a:pt x="4012061" y="2585637"/>
                  </a:lnTo>
                  <a:lnTo>
                    <a:pt x="3719874" y="2585637"/>
                  </a:lnTo>
                  <a:lnTo>
                    <a:pt x="3719874" y="1555330"/>
                  </a:lnTo>
                  <a:lnTo>
                    <a:pt x="4012061" y="1555330"/>
                  </a:lnTo>
                  <a:lnTo>
                    <a:pt x="4012061" y="1701423"/>
                  </a:lnTo>
                  <a:cubicBezTo>
                    <a:pt x="4079333" y="1614949"/>
                    <a:pt x="4165808" y="1536128"/>
                    <a:pt x="4313915" y="1536128"/>
                  </a:cubicBezTo>
                  <a:cubicBezTo>
                    <a:pt x="4534936" y="1536128"/>
                    <a:pt x="4663707" y="1682221"/>
                    <a:pt x="4663707" y="1918683"/>
                  </a:cubicBezTo>
                  <a:lnTo>
                    <a:pt x="4663707" y="2585771"/>
                  </a:lnTo>
                  <a:lnTo>
                    <a:pt x="4371520" y="2585771"/>
                  </a:lnTo>
                  <a:lnTo>
                    <a:pt x="4371520" y="2011066"/>
                  </a:lnTo>
                  <a:cubicBezTo>
                    <a:pt x="4371520" y="1872626"/>
                    <a:pt x="4306128" y="1801594"/>
                    <a:pt x="4194678" y="1801594"/>
                  </a:cubicBezTo>
                  <a:cubicBezTo>
                    <a:pt x="4083228" y="1801594"/>
                    <a:pt x="4012061" y="1872492"/>
                    <a:pt x="4012061" y="2010931"/>
                  </a:cubicBezTo>
                  <a:close/>
                  <a:moveTo>
                    <a:pt x="5131796" y="3681202"/>
                  </a:moveTo>
                  <a:lnTo>
                    <a:pt x="4839610" y="3681202"/>
                  </a:lnTo>
                  <a:lnTo>
                    <a:pt x="4839610" y="3535109"/>
                  </a:lnTo>
                  <a:cubicBezTo>
                    <a:pt x="4772337" y="3621583"/>
                    <a:pt x="4685863" y="3700404"/>
                    <a:pt x="4537755" y="3700404"/>
                  </a:cubicBezTo>
                  <a:cubicBezTo>
                    <a:pt x="4316736" y="3700404"/>
                    <a:pt x="4187964" y="3554311"/>
                    <a:pt x="4187964" y="3317849"/>
                  </a:cubicBezTo>
                  <a:lnTo>
                    <a:pt x="4187964" y="2650761"/>
                  </a:lnTo>
                  <a:lnTo>
                    <a:pt x="4480150" y="2650761"/>
                  </a:lnTo>
                  <a:lnTo>
                    <a:pt x="4480150" y="3225466"/>
                  </a:lnTo>
                  <a:cubicBezTo>
                    <a:pt x="4480150" y="3363906"/>
                    <a:pt x="4545543" y="3434938"/>
                    <a:pt x="4656993" y="3434938"/>
                  </a:cubicBezTo>
                  <a:cubicBezTo>
                    <a:pt x="4768443" y="3434938"/>
                    <a:pt x="4839610" y="3363772"/>
                    <a:pt x="4839610" y="3225466"/>
                  </a:cubicBezTo>
                  <a:lnTo>
                    <a:pt x="4839610" y="2650761"/>
                  </a:lnTo>
                  <a:lnTo>
                    <a:pt x="5131796" y="2650761"/>
                  </a:lnTo>
                  <a:lnTo>
                    <a:pt x="5131796" y="3681202"/>
                  </a:lnTo>
                  <a:close/>
                </a:path>
              </a:pathLst>
            </a:custGeom>
            <a:solidFill>
              <a:srgbClr val="34AADE">
                <a:alpha val="94902"/>
              </a:srgbClr>
            </a:solidFill>
            <a:ln w="134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" name="Freeform: Shape 3">
              <a:extLst>
                <a:ext uri="{FF2B5EF4-FFF2-40B4-BE49-F238E27FC236}">
                  <a16:creationId xmlns:a16="http://schemas.microsoft.com/office/drawing/2014/main" id="{C793E1A7-CEFD-4253-9A26-887F168B6855}"/>
                </a:ext>
              </a:extLst>
            </p:cNvPr>
            <p:cNvSpPr/>
            <p:nvPr/>
          </p:nvSpPr>
          <p:spPr>
            <a:xfrm>
              <a:off x="3762783" y="3432736"/>
              <a:ext cx="538316" cy="569065"/>
            </a:xfrm>
            <a:custGeom>
              <a:avLst/>
              <a:gdLst>
                <a:gd name="connsiteX0" fmla="*/ 267211 w 538316"/>
                <a:gd name="connsiteY0" fmla="*/ 0 h 569065"/>
                <a:gd name="connsiteX1" fmla="*/ 0 w 538316"/>
                <a:gd name="connsiteY1" fmla="*/ 280639 h 569065"/>
                <a:gd name="connsiteX2" fmla="*/ 0 w 538316"/>
                <a:gd name="connsiteY2" fmla="*/ 284533 h 569065"/>
                <a:gd name="connsiteX3" fmla="*/ 271105 w 538316"/>
                <a:gd name="connsiteY3" fmla="*/ 569066 h 569065"/>
                <a:gd name="connsiteX4" fmla="*/ 538316 w 538316"/>
                <a:gd name="connsiteY4" fmla="*/ 288427 h 569065"/>
                <a:gd name="connsiteX5" fmla="*/ 538316 w 538316"/>
                <a:gd name="connsiteY5" fmla="*/ 284533 h 569065"/>
                <a:gd name="connsiteX6" fmla="*/ 267211 w 538316"/>
                <a:gd name="connsiteY6" fmla="*/ 0 h 5690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38316" h="569065">
                  <a:moveTo>
                    <a:pt x="267211" y="0"/>
                  </a:moveTo>
                  <a:cubicBezTo>
                    <a:pt x="99902" y="0"/>
                    <a:pt x="0" y="128772"/>
                    <a:pt x="0" y="280639"/>
                  </a:cubicBezTo>
                  <a:lnTo>
                    <a:pt x="0" y="284533"/>
                  </a:lnTo>
                  <a:cubicBezTo>
                    <a:pt x="0" y="436400"/>
                    <a:pt x="109570" y="569066"/>
                    <a:pt x="271105" y="569066"/>
                  </a:cubicBezTo>
                  <a:cubicBezTo>
                    <a:pt x="438280" y="569066"/>
                    <a:pt x="538316" y="440294"/>
                    <a:pt x="538316" y="288427"/>
                  </a:cubicBezTo>
                  <a:lnTo>
                    <a:pt x="538316" y="284533"/>
                  </a:lnTo>
                  <a:cubicBezTo>
                    <a:pt x="538182" y="132665"/>
                    <a:pt x="428612" y="0"/>
                    <a:pt x="267211" y="0"/>
                  </a:cubicBezTo>
                  <a:close/>
                </a:path>
              </a:pathLst>
            </a:custGeom>
            <a:solidFill>
              <a:srgbClr val="34AADE">
                <a:alpha val="94902"/>
              </a:srgbClr>
            </a:solidFill>
            <a:ln w="13423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GB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DE8DCE28-5354-4025-839A-9BFCA83A4336}"/>
                </a:ext>
              </a:extLst>
            </p:cNvPr>
            <p:cNvSpPr/>
            <p:nvPr/>
          </p:nvSpPr>
          <p:spPr>
            <a:xfrm>
              <a:off x="3408157" y="2681188"/>
              <a:ext cx="388328" cy="271105"/>
            </a:xfrm>
            <a:custGeom>
              <a:avLst/>
              <a:gdLst>
                <a:gd name="connsiteX0" fmla="*/ 159521 w 388328"/>
                <a:gd name="connsiteY0" fmla="*/ 271105 h 271105"/>
                <a:gd name="connsiteX1" fmla="*/ 388329 w 388328"/>
                <a:gd name="connsiteY1" fmla="*/ 90368 h 271105"/>
                <a:gd name="connsiteX2" fmla="*/ 388329 w 388328"/>
                <a:gd name="connsiteY2" fmla="*/ 38403 h 271105"/>
                <a:gd name="connsiteX3" fmla="*/ 201818 w 388328"/>
                <a:gd name="connsiteY3" fmla="*/ 0 h 271105"/>
                <a:gd name="connsiteX4" fmla="*/ 0 w 388328"/>
                <a:gd name="connsiteY4" fmla="*/ 142199 h 271105"/>
                <a:gd name="connsiteX5" fmla="*/ 0 w 388328"/>
                <a:gd name="connsiteY5" fmla="*/ 146093 h 271105"/>
                <a:gd name="connsiteX6" fmla="*/ 159521 w 388328"/>
                <a:gd name="connsiteY6" fmla="*/ 271105 h 2711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88328" h="271105">
                  <a:moveTo>
                    <a:pt x="159521" y="271105"/>
                  </a:moveTo>
                  <a:cubicBezTo>
                    <a:pt x="295946" y="271105"/>
                    <a:pt x="388329" y="196179"/>
                    <a:pt x="388329" y="90368"/>
                  </a:cubicBezTo>
                  <a:lnTo>
                    <a:pt x="388329" y="38403"/>
                  </a:lnTo>
                  <a:cubicBezTo>
                    <a:pt x="338378" y="15308"/>
                    <a:pt x="272985" y="0"/>
                    <a:pt x="201818" y="0"/>
                  </a:cubicBezTo>
                  <a:cubicBezTo>
                    <a:pt x="76806" y="0"/>
                    <a:pt x="0" y="49951"/>
                    <a:pt x="0" y="142199"/>
                  </a:cubicBezTo>
                  <a:lnTo>
                    <a:pt x="0" y="146093"/>
                  </a:lnTo>
                  <a:cubicBezTo>
                    <a:pt x="0" y="224914"/>
                    <a:pt x="65393" y="271105"/>
                    <a:pt x="159521" y="271105"/>
                  </a:cubicBezTo>
                  <a:close/>
                </a:path>
              </a:pathLst>
            </a:custGeom>
            <a:solidFill>
              <a:srgbClr val="34AADE">
                <a:alpha val="94902"/>
              </a:srgbClr>
            </a:solidFill>
            <a:ln w="13423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GB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CBCB8E2D-D235-4BFB-902E-AECE18396BFB}"/>
                </a:ext>
              </a:extLst>
            </p:cNvPr>
            <p:cNvSpPr/>
            <p:nvPr/>
          </p:nvSpPr>
          <p:spPr>
            <a:xfrm>
              <a:off x="6353522" y="3114903"/>
              <a:ext cx="13024" cy="20007"/>
            </a:xfrm>
            <a:custGeom>
              <a:avLst/>
              <a:gdLst>
                <a:gd name="connsiteX0" fmla="*/ 13025 w 13024"/>
                <a:gd name="connsiteY0" fmla="*/ 20007 h 20007"/>
                <a:gd name="connsiteX1" fmla="*/ 0 w 13024"/>
                <a:gd name="connsiteY1" fmla="*/ 0 h 20007"/>
                <a:gd name="connsiteX2" fmla="*/ 0 w 13024"/>
                <a:gd name="connsiteY2" fmla="*/ 20007 h 200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024" h="20007">
                  <a:moveTo>
                    <a:pt x="13025" y="20007"/>
                  </a:moveTo>
                  <a:lnTo>
                    <a:pt x="0" y="0"/>
                  </a:lnTo>
                  <a:lnTo>
                    <a:pt x="0" y="20007"/>
                  </a:lnTo>
                  <a:close/>
                </a:path>
              </a:pathLst>
            </a:custGeom>
            <a:solidFill>
              <a:srgbClr val="34AADE"/>
            </a:solidFill>
            <a:ln w="134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pic>
        <p:nvPicPr>
          <p:cNvPr id="8" name="Graphic 7">
            <a:extLst>
              <a:ext uri="{FF2B5EF4-FFF2-40B4-BE49-F238E27FC236}">
                <a16:creationId xmlns:a16="http://schemas.microsoft.com/office/drawing/2014/main" id="{6D6D8208-3BF6-43C1-945B-A5ACFAF8DBD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8337338" y="530146"/>
            <a:ext cx="3237937" cy="22227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977320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">
            <a:extLst>
              <a:ext uri="{FF2B5EF4-FFF2-40B4-BE49-F238E27FC236}">
                <a16:creationId xmlns:a16="http://schemas.microsoft.com/office/drawing/2014/main" id="{3458FAF4-B7CB-1340-8901-F7EC7F2C62B1}"/>
              </a:ext>
            </a:extLst>
          </p:cNvPr>
          <p:cNvSpPr/>
          <p:nvPr userDrawn="1"/>
        </p:nvSpPr>
        <p:spPr>
          <a:xfrm flipV="1">
            <a:off x="463638" y="1013885"/>
            <a:ext cx="11252267" cy="18000"/>
          </a:xfrm>
          <a:prstGeom prst="roundRect">
            <a:avLst>
              <a:gd name="adj" fmla="val 50000"/>
            </a:avLst>
          </a:prstGeom>
          <a:gradFill>
            <a:gsLst>
              <a:gs pos="0">
                <a:schemeClr val="bg2">
                  <a:lumMod val="75000"/>
                </a:schemeClr>
              </a:gs>
              <a:gs pos="96000">
                <a:schemeClr val="bg1">
                  <a:alpha val="0"/>
                </a:schemeClr>
              </a:gs>
            </a:gsLst>
            <a:lin ang="1140000" scaled="0"/>
          </a:gradFill>
          <a:ln w="12700">
            <a:miter lim="400000"/>
          </a:ln>
        </p:spPr>
        <p:txBody>
          <a:bodyPr lIns="0" tIns="0" rIns="0" bIns="0" anchor="ctr">
            <a:noAutofit/>
          </a:bodyPr>
          <a:lstStyle/>
          <a:p>
            <a:pPr marL="0" marR="0" lvl="0" indent="0" algn="l" defTabSz="8255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kumimoji="0" sz="3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3A3218-217B-494A-AA85-B666F0B41D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639" y="213332"/>
            <a:ext cx="9070253" cy="800554"/>
          </a:xfrm>
          <a:prstGeom prst="rect">
            <a:avLst/>
          </a:prstGeom>
        </p:spPr>
        <p:txBody>
          <a:bodyPr anchor="ctr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7062C53C-70C0-244F-ABC2-135CA0E50B06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1924168" y="6605588"/>
            <a:ext cx="245751" cy="225709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sz="1100" b="0" i="0" u="none" strike="noStrike" kern="1200" cap="none" spc="0" normalizeH="0" baseline="0" noProof="0">
                <a:ln>
                  <a:noFill/>
                </a:ln>
                <a:solidFill>
                  <a:srgbClr val="929292"/>
                </a:solidFill>
                <a:effectLst/>
                <a:uLnTx/>
                <a:uFillTx/>
                <a:latin typeface="Calibri"/>
                <a:cs typeface="Calibri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sz="1100" b="0" i="0" u="none" strike="noStrike" kern="1200" cap="none" spc="0" normalizeH="0" baseline="0" noProof="0">
              <a:ln>
                <a:noFill/>
              </a:ln>
              <a:solidFill>
                <a:srgbClr val="929292"/>
              </a:solidFill>
              <a:effectLst/>
              <a:uLnTx/>
              <a:uFillTx/>
              <a:latin typeface="Calibri"/>
              <a:cs typeface="Calibri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521B9F41-F234-5646-8C69-31DB1DDE0F7A}"/>
              </a:ext>
            </a:extLst>
          </p:cNvPr>
          <p:cNvSpPr/>
          <p:nvPr userDrawn="1"/>
        </p:nvSpPr>
        <p:spPr>
          <a:xfrm>
            <a:off x="-786211" y="1806220"/>
            <a:ext cx="251011" cy="251011"/>
          </a:xfrm>
          <a:prstGeom prst="ellipse">
            <a:avLst/>
          </a:prstGeom>
          <a:solidFill>
            <a:srgbClr val="1B48B6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  <a:sym typeface="Calibri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DF74820F-00D0-3144-9F5F-E63C0E86852F}"/>
              </a:ext>
            </a:extLst>
          </p:cNvPr>
          <p:cNvSpPr/>
          <p:nvPr userDrawn="1"/>
        </p:nvSpPr>
        <p:spPr>
          <a:xfrm>
            <a:off x="-786211" y="2669824"/>
            <a:ext cx="251011" cy="251011"/>
          </a:xfrm>
          <a:prstGeom prst="ellipse">
            <a:avLst/>
          </a:prstGeom>
          <a:solidFill>
            <a:srgbClr val="14C26C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  <a:sym typeface="Calibri"/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41A83626-8724-9645-A457-B6947B936126}"/>
              </a:ext>
            </a:extLst>
          </p:cNvPr>
          <p:cNvSpPr/>
          <p:nvPr userDrawn="1"/>
        </p:nvSpPr>
        <p:spPr>
          <a:xfrm>
            <a:off x="-786211" y="3544717"/>
            <a:ext cx="251011" cy="251011"/>
          </a:xfrm>
          <a:prstGeom prst="ellipse">
            <a:avLst/>
          </a:prstGeom>
          <a:solidFill>
            <a:srgbClr val="8606B6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  <a:sym typeface="Calibri"/>
            </a:endParaRP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BA8B78A6-FFFF-A34A-A215-A200C015C9E0}"/>
              </a:ext>
            </a:extLst>
          </p:cNvPr>
          <p:cNvSpPr/>
          <p:nvPr userDrawn="1"/>
        </p:nvSpPr>
        <p:spPr>
          <a:xfrm>
            <a:off x="-786211" y="3979339"/>
            <a:ext cx="251011" cy="251011"/>
          </a:xfrm>
          <a:prstGeom prst="ellipse">
            <a:avLst/>
          </a:prstGeom>
          <a:solidFill>
            <a:srgbClr val="F78423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  <a:sym typeface="Calibri"/>
            </a:endParaRP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757E2777-89F5-C845-8CEA-52FB08D6DA28}"/>
              </a:ext>
            </a:extLst>
          </p:cNvPr>
          <p:cNvSpPr/>
          <p:nvPr userDrawn="1"/>
        </p:nvSpPr>
        <p:spPr>
          <a:xfrm>
            <a:off x="-786211" y="4413961"/>
            <a:ext cx="251011" cy="251011"/>
          </a:xfrm>
          <a:prstGeom prst="ellipse">
            <a:avLst/>
          </a:prstGeom>
          <a:solidFill>
            <a:srgbClr val="B0005C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  <a:sym typeface="Calibri"/>
            </a:endParaRP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C8660B14-6FB3-794C-AA6A-399EFDD5777F}"/>
              </a:ext>
            </a:extLst>
          </p:cNvPr>
          <p:cNvSpPr/>
          <p:nvPr userDrawn="1"/>
        </p:nvSpPr>
        <p:spPr>
          <a:xfrm>
            <a:off x="-786211" y="3127024"/>
            <a:ext cx="251011" cy="251011"/>
          </a:xfrm>
          <a:prstGeom prst="ellipse">
            <a:avLst/>
          </a:prstGeom>
          <a:solidFill>
            <a:srgbClr val="00AEEF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  <a:sym typeface="Calibri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3A9ECFFF-C4EB-0948-BA91-2631A7564B83}"/>
              </a:ext>
            </a:extLst>
          </p:cNvPr>
          <p:cNvSpPr txBox="1"/>
          <p:nvPr userDrawn="1"/>
        </p:nvSpPr>
        <p:spPr>
          <a:xfrm>
            <a:off x="-977779" y="4785916"/>
            <a:ext cx="634146" cy="25391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Calibri"/>
                <a:sym typeface="Calibri"/>
              </a:rPr>
              <a:t>Text color</a:t>
            </a: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EBC27F33-7866-4F4A-9FCF-1DF9C5ACAE7D}"/>
              </a:ext>
            </a:extLst>
          </p:cNvPr>
          <p:cNvSpPr/>
          <p:nvPr userDrawn="1"/>
        </p:nvSpPr>
        <p:spPr>
          <a:xfrm>
            <a:off x="-786211" y="5062901"/>
            <a:ext cx="251011" cy="251011"/>
          </a:xfrm>
          <a:prstGeom prst="ellipse">
            <a:avLst/>
          </a:prstGeom>
          <a:solidFill>
            <a:schemeClr val="tx1">
              <a:lumMod val="85000"/>
              <a:lumOff val="15000"/>
            </a:schemeClr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  <a:sym typeface="Calibri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8AA9D110-9BF5-7947-9FAE-921099CA6FCD}"/>
              </a:ext>
            </a:extLst>
          </p:cNvPr>
          <p:cNvSpPr txBox="1"/>
          <p:nvPr userDrawn="1"/>
        </p:nvSpPr>
        <p:spPr>
          <a:xfrm>
            <a:off x="-1008236" y="1503652"/>
            <a:ext cx="695060" cy="24621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Calibri"/>
                <a:sym typeface="Calibri"/>
              </a:rPr>
              <a:t>Brand color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F422A268-4CEA-F743-8CD9-CE9C39DDAB51}"/>
              </a:ext>
            </a:extLst>
          </p:cNvPr>
          <p:cNvSpPr txBox="1"/>
          <p:nvPr userDrawn="1"/>
        </p:nvSpPr>
        <p:spPr>
          <a:xfrm>
            <a:off x="-1093315" y="2220662"/>
            <a:ext cx="897038" cy="40010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Calibri"/>
                <a:sym typeface="Calibri"/>
              </a:rPr>
              <a:t>Complimentary</a:t>
            </a:r>
          </a:p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Calibri"/>
                <a:sym typeface="Calibri"/>
              </a:rPr>
              <a:t>colors</a:t>
            </a:r>
          </a:p>
        </p:txBody>
      </p:sp>
    </p:spTree>
    <p:extLst>
      <p:ext uri="{BB962C8B-B14F-4D97-AF65-F5344CB8AC3E}">
        <p14:creationId xmlns:p14="http://schemas.microsoft.com/office/powerpoint/2010/main" val="633403398"/>
      </p:ext>
    </p:extLst>
  </p:cSld>
  <p:clrMapOvr>
    <a:masterClrMapping/>
  </p:clrMapOvr>
  <p:transition spd="med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&amp; n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oogle Shape;1257;p9" descr="Pexels Videos 2257256.mp4">
            <a:extLst>
              <a:ext uri="{FF2B5EF4-FFF2-40B4-BE49-F238E27FC236}">
                <a16:creationId xmlns:a16="http://schemas.microsoft.com/office/drawing/2014/main" id="{3C9CF11C-DBC0-52DC-2982-1F8E1523927E}"/>
              </a:ext>
            </a:extLst>
          </p:cNvPr>
          <p:cNvPicPr preferRelativeResize="0"/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6" name="Google Shape;4314;p19">
            <a:extLst>
              <a:ext uri="{FF2B5EF4-FFF2-40B4-BE49-F238E27FC236}">
                <a16:creationId xmlns:a16="http://schemas.microsoft.com/office/drawing/2014/main" id="{9FD2B120-D3B5-E6A7-6680-8D530DF999E6}"/>
              </a:ext>
            </a:extLst>
          </p:cNvPr>
          <p:cNvSpPr/>
          <p:nvPr userDrawn="1"/>
        </p:nvSpPr>
        <p:spPr>
          <a:xfrm>
            <a:off x="0" y="0"/>
            <a:ext cx="12179418" cy="6858000"/>
          </a:xfrm>
          <a:prstGeom prst="rect">
            <a:avLst/>
          </a:prstGeom>
          <a:gradFill flip="none" rotWithShape="1">
            <a:gsLst>
              <a:gs pos="0">
                <a:srgbClr val="021C4D">
                  <a:alpha val="30000"/>
                </a:srgbClr>
              </a:gs>
              <a:gs pos="99000">
                <a:srgbClr val="002060"/>
              </a:gs>
            </a:gsLst>
            <a:lin ang="0" scaled="1"/>
            <a:tileRect/>
          </a:gradFill>
          <a:ln w="12700" cap="flat" cmpd="sng">
            <a:noFill/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Calibri"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FC89746-4787-DCC4-A198-885F578FA5BF}"/>
              </a:ext>
            </a:extLst>
          </p:cNvPr>
          <p:cNvSpPr txBox="1"/>
          <p:nvPr userDrawn="1"/>
        </p:nvSpPr>
        <p:spPr>
          <a:xfrm>
            <a:off x="-166255" y="4476997"/>
            <a:ext cx="92396" cy="36933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  <a:sym typeface="Calibri"/>
            </a:endParaRPr>
          </a:p>
        </p:txBody>
      </p:sp>
      <p:sp>
        <p:nvSpPr>
          <p:cNvPr id="24" name="Rectangle">
            <a:extLst>
              <a:ext uri="{FF2B5EF4-FFF2-40B4-BE49-F238E27FC236}">
                <a16:creationId xmlns:a16="http://schemas.microsoft.com/office/drawing/2014/main" id="{3458FAF4-B7CB-1340-8901-F7EC7F2C62B1}"/>
              </a:ext>
            </a:extLst>
          </p:cNvPr>
          <p:cNvSpPr/>
          <p:nvPr userDrawn="1"/>
        </p:nvSpPr>
        <p:spPr>
          <a:xfrm flipV="1">
            <a:off x="463638" y="1119392"/>
            <a:ext cx="11252267" cy="18000"/>
          </a:xfrm>
          <a:prstGeom prst="roundRect">
            <a:avLst>
              <a:gd name="adj" fmla="val 50000"/>
            </a:avLst>
          </a:prstGeom>
          <a:gradFill>
            <a:gsLst>
              <a:gs pos="0">
                <a:schemeClr val="bg2">
                  <a:lumMod val="75000"/>
                </a:schemeClr>
              </a:gs>
              <a:gs pos="96000">
                <a:schemeClr val="bg1">
                  <a:alpha val="0"/>
                </a:schemeClr>
              </a:gs>
            </a:gsLst>
            <a:lin ang="1140000" scaled="0"/>
          </a:gradFill>
          <a:ln w="12700">
            <a:miter lim="400000"/>
          </a:ln>
        </p:spPr>
        <p:txBody>
          <a:bodyPr lIns="0" tIns="0" rIns="0" bIns="0" anchor="ctr">
            <a:noAutofit/>
          </a:bodyPr>
          <a:lstStyle/>
          <a:p>
            <a:pPr marL="0" marR="0" lvl="0" indent="0" algn="l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kumimoji="0" sz="3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3A3218-217B-494A-AA85-B666F0B41D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639" y="318839"/>
            <a:ext cx="9070253" cy="800554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7062C53C-70C0-244F-ABC2-135CA0E50B06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1924168" y="6605588"/>
            <a:ext cx="245751" cy="225709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sz="1100" b="0" i="0" u="none" strike="noStrike" kern="0" cap="none" spc="0" normalizeH="0" baseline="0" noProof="0">
                <a:ln>
                  <a:noFill/>
                </a:ln>
                <a:solidFill>
                  <a:srgbClr val="929292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sz="1100" b="0" i="0" u="none" strike="noStrike" kern="0" cap="none" spc="0" normalizeH="0" baseline="0" noProof="0">
              <a:ln>
                <a:noFill/>
              </a:ln>
              <a:solidFill>
                <a:srgbClr val="929292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521B9F41-F234-5646-8C69-31DB1DDE0F7A}"/>
              </a:ext>
            </a:extLst>
          </p:cNvPr>
          <p:cNvSpPr/>
          <p:nvPr userDrawn="1"/>
        </p:nvSpPr>
        <p:spPr>
          <a:xfrm>
            <a:off x="-786211" y="1806220"/>
            <a:ext cx="251011" cy="251011"/>
          </a:xfrm>
          <a:prstGeom prst="ellipse">
            <a:avLst/>
          </a:prstGeom>
          <a:solidFill>
            <a:srgbClr val="1B48B6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  <a:sym typeface="Calibri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DF74820F-00D0-3144-9F5F-E63C0E86852F}"/>
              </a:ext>
            </a:extLst>
          </p:cNvPr>
          <p:cNvSpPr/>
          <p:nvPr userDrawn="1"/>
        </p:nvSpPr>
        <p:spPr>
          <a:xfrm>
            <a:off x="-786211" y="2669824"/>
            <a:ext cx="251011" cy="251011"/>
          </a:xfrm>
          <a:prstGeom prst="ellipse">
            <a:avLst/>
          </a:prstGeom>
          <a:solidFill>
            <a:srgbClr val="14C26C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  <a:sym typeface="Calibri"/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41A83626-8724-9645-A457-B6947B936126}"/>
              </a:ext>
            </a:extLst>
          </p:cNvPr>
          <p:cNvSpPr/>
          <p:nvPr userDrawn="1"/>
        </p:nvSpPr>
        <p:spPr>
          <a:xfrm>
            <a:off x="-786211" y="3544717"/>
            <a:ext cx="251011" cy="251011"/>
          </a:xfrm>
          <a:prstGeom prst="ellipse">
            <a:avLst/>
          </a:prstGeom>
          <a:solidFill>
            <a:srgbClr val="8606B6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  <a:sym typeface="Calibri"/>
            </a:endParaRP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BA8B78A6-FFFF-A34A-A215-A200C015C9E0}"/>
              </a:ext>
            </a:extLst>
          </p:cNvPr>
          <p:cNvSpPr/>
          <p:nvPr userDrawn="1"/>
        </p:nvSpPr>
        <p:spPr>
          <a:xfrm>
            <a:off x="-786211" y="3979339"/>
            <a:ext cx="251011" cy="251011"/>
          </a:xfrm>
          <a:prstGeom prst="ellipse">
            <a:avLst/>
          </a:prstGeom>
          <a:solidFill>
            <a:srgbClr val="F78423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  <a:sym typeface="Calibri"/>
            </a:endParaRP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757E2777-89F5-C845-8CEA-52FB08D6DA28}"/>
              </a:ext>
            </a:extLst>
          </p:cNvPr>
          <p:cNvSpPr/>
          <p:nvPr userDrawn="1"/>
        </p:nvSpPr>
        <p:spPr>
          <a:xfrm>
            <a:off x="-786211" y="4413961"/>
            <a:ext cx="251011" cy="251011"/>
          </a:xfrm>
          <a:prstGeom prst="ellipse">
            <a:avLst/>
          </a:prstGeom>
          <a:solidFill>
            <a:srgbClr val="B0005C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  <a:sym typeface="Calibri"/>
            </a:endParaRP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C8660B14-6FB3-794C-AA6A-399EFDD5777F}"/>
              </a:ext>
            </a:extLst>
          </p:cNvPr>
          <p:cNvSpPr/>
          <p:nvPr userDrawn="1"/>
        </p:nvSpPr>
        <p:spPr>
          <a:xfrm>
            <a:off x="-786211" y="3127024"/>
            <a:ext cx="251011" cy="251011"/>
          </a:xfrm>
          <a:prstGeom prst="ellipse">
            <a:avLst/>
          </a:prstGeom>
          <a:solidFill>
            <a:srgbClr val="00AEEF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  <a:sym typeface="Calibri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3A9ECFFF-C4EB-0948-BA91-2631A7564B83}"/>
              </a:ext>
            </a:extLst>
          </p:cNvPr>
          <p:cNvSpPr txBox="1"/>
          <p:nvPr userDrawn="1"/>
        </p:nvSpPr>
        <p:spPr>
          <a:xfrm>
            <a:off x="-977779" y="4785916"/>
            <a:ext cx="634146" cy="25391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Calibri"/>
                <a:sym typeface="Calibri"/>
              </a:rPr>
              <a:t>Text color</a:t>
            </a: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EBC27F33-7866-4F4A-9FCF-1DF9C5ACAE7D}"/>
              </a:ext>
            </a:extLst>
          </p:cNvPr>
          <p:cNvSpPr/>
          <p:nvPr userDrawn="1"/>
        </p:nvSpPr>
        <p:spPr>
          <a:xfrm>
            <a:off x="-786211" y="5062901"/>
            <a:ext cx="251011" cy="251011"/>
          </a:xfrm>
          <a:prstGeom prst="ellipse">
            <a:avLst/>
          </a:prstGeom>
          <a:solidFill>
            <a:schemeClr val="tx1">
              <a:lumMod val="85000"/>
              <a:lumOff val="15000"/>
            </a:schemeClr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  <a:sym typeface="Calibri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8AA9D110-9BF5-7947-9FAE-921099CA6FCD}"/>
              </a:ext>
            </a:extLst>
          </p:cNvPr>
          <p:cNvSpPr txBox="1"/>
          <p:nvPr userDrawn="1"/>
        </p:nvSpPr>
        <p:spPr>
          <a:xfrm>
            <a:off x="-1008236" y="1503652"/>
            <a:ext cx="695060" cy="24621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Calibri"/>
                <a:sym typeface="Calibri"/>
              </a:rPr>
              <a:t>Brand color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F422A268-4CEA-F743-8CD9-CE9C39DDAB51}"/>
              </a:ext>
            </a:extLst>
          </p:cNvPr>
          <p:cNvSpPr txBox="1"/>
          <p:nvPr userDrawn="1"/>
        </p:nvSpPr>
        <p:spPr>
          <a:xfrm>
            <a:off x="-1093315" y="2220662"/>
            <a:ext cx="897038" cy="40010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Calibri"/>
                <a:sym typeface="Calibri"/>
              </a:rPr>
              <a:t>Complimentary</a:t>
            </a:r>
          </a:p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Calibri"/>
                <a:sym typeface="Calibri"/>
              </a:rPr>
              <a:t>colors</a:t>
            </a:r>
          </a:p>
        </p:txBody>
      </p:sp>
    </p:spTree>
    <p:extLst>
      <p:ext uri="{BB962C8B-B14F-4D97-AF65-F5344CB8AC3E}">
        <p14:creationId xmlns:p14="http://schemas.microsoft.com/office/powerpoint/2010/main" val="677968086"/>
      </p:ext>
    </p:extLst>
  </p:cSld>
  <p:clrMapOvr>
    <a:masterClrMapping/>
  </p:clrMapOvr>
  <p:transition spd="med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C6CAE71-E9D6-BF46-AB9D-D9EB3D51F05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800" y="1510"/>
            <a:ext cx="12193799" cy="6864563"/>
          </a:xfrm>
          <a:prstGeom prst="rect">
            <a:avLst/>
          </a:prstGeom>
        </p:spPr>
      </p:pic>
      <p:sp>
        <p:nvSpPr>
          <p:cNvPr id="8" name="Subtitle 2">
            <a:extLst>
              <a:ext uri="{FF2B5EF4-FFF2-40B4-BE49-F238E27FC236}">
                <a16:creationId xmlns:a16="http://schemas.microsoft.com/office/drawing/2014/main" id="{3A38AA8A-CB4E-5A46-80A2-884EE068309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39062" y="4760936"/>
            <a:ext cx="6289778" cy="434974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l">
              <a:buNone/>
              <a:defRPr sz="2500">
                <a:solidFill>
                  <a:schemeClr val="tx1">
                    <a:lumMod val="50000"/>
                    <a:lumOff val="50000"/>
                  </a:schemeClr>
                </a:solidFill>
                <a:latin typeface="Gotham Medium" pitchFamily="2" charset="0"/>
                <a:cs typeface="Gotham Medium" pitchFamily="2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E1123C6-DEC0-0D41-9525-9436A7FCCC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9060" y="1545186"/>
            <a:ext cx="6289780" cy="2814411"/>
          </a:xfrm>
          <a:prstGeom prst="rect">
            <a:avLst/>
          </a:prstGeom>
        </p:spPr>
        <p:txBody>
          <a:bodyPr/>
          <a:lstStyle>
            <a:lvl1pPr>
              <a:defRPr sz="6000" b="1" i="0">
                <a:latin typeface="Gotham Narrow Black" pitchFamily="2" charset="0"/>
                <a:cs typeface="Gotham Medium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Date Placeholder 1">
            <a:extLst>
              <a:ext uri="{FF2B5EF4-FFF2-40B4-BE49-F238E27FC236}">
                <a16:creationId xmlns:a16="http://schemas.microsoft.com/office/drawing/2014/main" id="{F834F6D2-EF2F-BE48-9123-3E204FAEA5B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762186" y="490713"/>
            <a:ext cx="1849674" cy="365125"/>
          </a:xfrm>
          <a:prstGeom prst="rect">
            <a:avLst/>
          </a:prstGeom>
        </p:spPr>
        <p:txBody>
          <a:bodyPr lIns="90000"/>
          <a:lstStyle>
            <a:lvl1pPr algn="r">
              <a:defRPr sz="14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79C6505-0DB4-4F42-9517-8EE46F733C69}" type="datetime3">
              <a:rPr kumimoji="0" lang="en-IN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/>
                <a:cs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 September 2022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Calibri"/>
              <a:cs typeface="Calibri"/>
            </a:endParaRP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B2D87880-BB7D-0540-BA4F-ED0941AE61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-1799" y="6577895"/>
            <a:ext cx="2923419" cy="28010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lumMod val="50000"/>
                    <a:lumOff val="50000"/>
                  </a:schemeClr>
                </a:solidFill>
                <a:latin typeface="Gotham Medium" pitchFamily="2" charset="0"/>
                <a:cs typeface="Gotham Medium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Gotham Medium" pitchFamily="2" charset="0"/>
              </a:rPr>
              <a:t>© 2019-2020 </a:t>
            </a:r>
            <a:r>
              <a:rPr kumimoji="0" lang="en-IN" sz="9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Gotham Medium" pitchFamily="2" charset="0"/>
              </a:rPr>
              <a:t>Sterlite Technologies Limited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Gotham Medium" pitchFamily="2" charset="0"/>
            </a:endParaRPr>
          </a:p>
        </p:txBody>
      </p:sp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DDBBE3CE-FDC1-8B44-8E98-60EE718835F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928840" y="491792"/>
            <a:ext cx="4058445" cy="5848882"/>
          </a:xfrm>
          <a:custGeom>
            <a:avLst/>
            <a:gdLst>
              <a:gd name="connsiteX0" fmla="*/ 0 w 4552950"/>
              <a:gd name="connsiteY0" fmla="*/ 0 h 4260850"/>
              <a:gd name="connsiteX1" fmla="*/ 2422525 w 4552950"/>
              <a:gd name="connsiteY1" fmla="*/ 0 h 4260850"/>
              <a:gd name="connsiteX2" fmla="*/ 4552950 w 4552950"/>
              <a:gd name="connsiteY2" fmla="*/ 2130425 h 4260850"/>
              <a:gd name="connsiteX3" fmla="*/ 2422525 w 4552950"/>
              <a:gd name="connsiteY3" fmla="*/ 4260850 h 4260850"/>
              <a:gd name="connsiteX4" fmla="*/ 0 w 4552950"/>
              <a:gd name="connsiteY4" fmla="*/ 4260850 h 4260850"/>
              <a:gd name="connsiteX5" fmla="*/ 2130425 w 4552950"/>
              <a:gd name="connsiteY5" fmla="*/ 2130425 h 4260850"/>
              <a:gd name="connsiteX6" fmla="*/ 0 w 4552950"/>
              <a:gd name="connsiteY6" fmla="*/ 0 h 4260850"/>
              <a:gd name="connsiteX0" fmla="*/ 0 w 4552950"/>
              <a:gd name="connsiteY0" fmla="*/ 107950 h 4368800"/>
              <a:gd name="connsiteX1" fmla="*/ 2225675 w 4552950"/>
              <a:gd name="connsiteY1" fmla="*/ 0 h 4368800"/>
              <a:gd name="connsiteX2" fmla="*/ 4552950 w 4552950"/>
              <a:gd name="connsiteY2" fmla="*/ 2238375 h 4368800"/>
              <a:gd name="connsiteX3" fmla="*/ 2422525 w 4552950"/>
              <a:gd name="connsiteY3" fmla="*/ 4368800 h 4368800"/>
              <a:gd name="connsiteX4" fmla="*/ 0 w 4552950"/>
              <a:gd name="connsiteY4" fmla="*/ 4368800 h 4368800"/>
              <a:gd name="connsiteX5" fmla="*/ 2130425 w 4552950"/>
              <a:gd name="connsiteY5" fmla="*/ 2238375 h 4368800"/>
              <a:gd name="connsiteX6" fmla="*/ 0 w 4552950"/>
              <a:gd name="connsiteY6" fmla="*/ 107950 h 4368800"/>
              <a:gd name="connsiteX0" fmla="*/ 0 w 4552950"/>
              <a:gd name="connsiteY0" fmla="*/ 107950 h 4368800"/>
              <a:gd name="connsiteX1" fmla="*/ 2225675 w 4552950"/>
              <a:gd name="connsiteY1" fmla="*/ 0 h 4368800"/>
              <a:gd name="connsiteX2" fmla="*/ 4552950 w 4552950"/>
              <a:gd name="connsiteY2" fmla="*/ 2238375 h 4368800"/>
              <a:gd name="connsiteX3" fmla="*/ 2422525 w 4552950"/>
              <a:gd name="connsiteY3" fmla="*/ 4368800 h 4368800"/>
              <a:gd name="connsiteX4" fmla="*/ 0 w 4552950"/>
              <a:gd name="connsiteY4" fmla="*/ 4368800 h 4368800"/>
              <a:gd name="connsiteX5" fmla="*/ 2130425 w 4552950"/>
              <a:gd name="connsiteY5" fmla="*/ 2238375 h 4368800"/>
              <a:gd name="connsiteX6" fmla="*/ 0 w 4552950"/>
              <a:gd name="connsiteY6" fmla="*/ 107950 h 4368800"/>
              <a:gd name="connsiteX0" fmla="*/ 0 w 4576594"/>
              <a:gd name="connsiteY0" fmla="*/ 107950 h 4368800"/>
              <a:gd name="connsiteX1" fmla="*/ 2225675 w 4576594"/>
              <a:gd name="connsiteY1" fmla="*/ 0 h 4368800"/>
              <a:gd name="connsiteX2" fmla="*/ 3482729 w 4576594"/>
              <a:gd name="connsiteY2" fmla="*/ 1184275 h 4368800"/>
              <a:gd name="connsiteX3" fmla="*/ 4552950 w 4576594"/>
              <a:gd name="connsiteY3" fmla="*/ 2238375 h 4368800"/>
              <a:gd name="connsiteX4" fmla="*/ 2422525 w 4576594"/>
              <a:gd name="connsiteY4" fmla="*/ 4368800 h 4368800"/>
              <a:gd name="connsiteX5" fmla="*/ 0 w 4576594"/>
              <a:gd name="connsiteY5" fmla="*/ 4368800 h 4368800"/>
              <a:gd name="connsiteX6" fmla="*/ 2130425 w 4576594"/>
              <a:gd name="connsiteY6" fmla="*/ 2238375 h 4368800"/>
              <a:gd name="connsiteX7" fmla="*/ 0 w 4576594"/>
              <a:gd name="connsiteY7" fmla="*/ 107950 h 4368800"/>
              <a:gd name="connsiteX0" fmla="*/ 0 w 4574056"/>
              <a:gd name="connsiteY0" fmla="*/ 107950 h 4368800"/>
              <a:gd name="connsiteX1" fmla="*/ 2225675 w 4574056"/>
              <a:gd name="connsiteY1" fmla="*/ 0 h 4368800"/>
              <a:gd name="connsiteX2" fmla="*/ 3362079 w 4574056"/>
              <a:gd name="connsiteY2" fmla="*/ 1019175 h 4368800"/>
              <a:gd name="connsiteX3" fmla="*/ 4552950 w 4574056"/>
              <a:gd name="connsiteY3" fmla="*/ 2238375 h 4368800"/>
              <a:gd name="connsiteX4" fmla="*/ 2422525 w 4574056"/>
              <a:gd name="connsiteY4" fmla="*/ 4368800 h 4368800"/>
              <a:gd name="connsiteX5" fmla="*/ 0 w 4574056"/>
              <a:gd name="connsiteY5" fmla="*/ 4368800 h 4368800"/>
              <a:gd name="connsiteX6" fmla="*/ 2130425 w 4574056"/>
              <a:gd name="connsiteY6" fmla="*/ 2238375 h 4368800"/>
              <a:gd name="connsiteX7" fmla="*/ 0 w 4574056"/>
              <a:gd name="connsiteY7" fmla="*/ 107950 h 4368800"/>
              <a:gd name="connsiteX0" fmla="*/ 0 w 4574056"/>
              <a:gd name="connsiteY0" fmla="*/ 107950 h 4368800"/>
              <a:gd name="connsiteX1" fmla="*/ 1946029 w 4574056"/>
              <a:gd name="connsiteY1" fmla="*/ 15875 h 4368800"/>
              <a:gd name="connsiteX2" fmla="*/ 2225675 w 4574056"/>
              <a:gd name="connsiteY2" fmla="*/ 0 h 4368800"/>
              <a:gd name="connsiteX3" fmla="*/ 3362079 w 4574056"/>
              <a:gd name="connsiteY3" fmla="*/ 1019175 h 4368800"/>
              <a:gd name="connsiteX4" fmla="*/ 4552950 w 4574056"/>
              <a:gd name="connsiteY4" fmla="*/ 2238375 h 4368800"/>
              <a:gd name="connsiteX5" fmla="*/ 2422525 w 4574056"/>
              <a:gd name="connsiteY5" fmla="*/ 4368800 h 4368800"/>
              <a:gd name="connsiteX6" fmla="*/ 0 w 4574056"/>
              <a:gd name="connsiteY6" fmla="*/ 4368800 h 4368800"/>
              <a:gd name="connsiteX7" fmla="*/ 2130425 w 4574056"/>
              <a:gd name="connsiteY7" fmla="*/ 2238375 h 4368800"/>
              <a:gd name="connsiteX8" fmla="*/ 0 w 4574056"/>
              <a:gd name="connsiteY8" fmla="*/ 107950 h 4368800"/>
              <a:gd name="connsiteX0" fmla="*/ 0 w 4574056"/>
              <a:gd name="connsiteY0" fmla="*/ 155575 h 4416425"/>
              <a:gd name="connsiteX1" fmla="*/ 1888879 w 4574056"/>
              <a:gd name="connsiteY1" fmla="*/ 0 h 4416425"/>
              <a:gd name="connsiteX2" fmla="*/ 2225675 w 4574056"/>
              <a:gd name="connsiteY2" fmla="*/ 47625 h 4416425"/>
              <a:gd name="connsiteX3" fmla="*/ 3362079 w 4574056"/>
              <a:gd name="connsiteY3" fmla="*/ 1066800 h 4416425"/>
              <a:gd name="connsiteX4" fmla="*/ 4552950 w 4574056"/>
              <a:gd name="connsiteY4" fmla="*/ 2286000 h 4416425"/>
              <a:gd name="connsiteX5" fmla="*/ 2422525 w 4574056"/>
              <a:gd name="connsiteY5" fmla="*/ 4416425 h 4416425"/>
              <a:gd name="connsiteX6" fmla="*/ 0 w 4574056"/>
              <a:gd name="connsiteY6" fmla="*/ 4416425 h 4416425"/>
              <a:gd name="connsiteX7" fmla="*/ 2130425 w 4574056"/>
              <a:gd name="connsiteY7" fmla="*/ 2286000 h 4416425"/>
              <a:gd name="connsiteX8" fmla="*/ 0 w 4574056"/>
              <a:gd name="connsiteY8" fmla="*/ 155575 h 4416425"/>
              <a:gd name="connsiteX0" fmla="*/ 0 w 4574056"/>
              <a:gd name="connsiteY0" fmla="*/ 155575 h 4416425"/>
              <a:gd name="connsiteX1" fmla="*/ 1888879 w 4574056"/>
              <a:gd name="connsiteY1" fmla="*/ 0 h 4416425"/>
              <a:gd name="connsiteX2" fmla="*/ 2225675 w 4574056"/>
              <a:gd name="connsiteY2" fmla="*/ 47625 h 4416425"/>
              <a:gd name="connsiteX3" fmla="*/ 3362079 w 4574056"/>
              <a:gd name="connsiteY3" fmla="*/ 1066800 h 4416425"/>
              <a:gd name="connsiteX4" fmla="*/ 4552950 w 4574056"/>
              <a:gd name="connsiteY4" fmla="*/ 2286000 h 4416425"/>
              <a:gd name="connsiteX5" fmla="*/ 2422525 w 4574056"/>
              <a:gd name="connsiteY5" fmla="*/ 4416425 h 4416425"/>
              <a:gd name="connsiteX6" fmla="*/ 0 w 4574056"/>
              <a:gd name="connsiteY6" fmla="*/ 4416425 h 4416425"/>
              <a:gd name="connsiteX7" fmla="*/ 2130425 w 4574056"/>
              <a:gd name="connsiteY7" fmla="*/ 2286000 h 4416425"/>
              <a:gd name="connsiteX8" fmla="*/ 0 w 4574056"/>
              <a:gd name="connsiteY8" fmla="*/ 155575 h 4416425"/>
              <a:gd name="connsiteX0" fmla="*/ 0 w 4574056"/>
              <a:gd name="connsiteY0" fmla="*/ 155575 h 4416425"/>
              <a:gd name="connsiteX1" fmla="*/ 1888879 w 4574056"/>
              <a:gd name="connsiteY1" fmla="*/ 0 h 4416425"/>
              <a:gd name="connsiteX2" fmla="*/ 2225675 w 4574056"/>
              <a:gd name="connsiteY2" fmla="*/ 47625 h 4416425"/>
              <a:gd name="connsiteX3" fmla="*/ 3362079 w 4574056"/>
              <a:gd name="connsiteY3" fmla="*/ 1066800 h 4416425"/>
              <a:gd name="connsiteX4" fmla="*/ 4552950 w 4574056"/>
              <a:gd name="connsiteY4" fmla="*/ 2286000 h 4416425"/>
              <a:gd name="connsiteX5" fmla="*/ 2422525 w 4574056"/>
              <a:gd name="connsiteY5" fmla="*/ 4416425 h 4416425"/>
              <a:gd name="connsiteX6" fmla="*/ 0 w 4574056"/>
              <a:gd name="connsiteY6" fmla="*/ 4416425 h 4416425"/>
              <a:gd name="connsiteX7" fmla="*/ 2130425 w 4574056"/>
              <a:gd name="connsiteY7" fmla="*/ 2286000 h 4416425"/>
              <a:gd name="connsiteX8" fmla="*/ 0 w 4574056"/>
              <a:gd name="connsiteY8" fmla="*/ 155575 h 4416425"/>
              <a:gd name="connsiteX0" fmla="*/ 0 w 3614049"/>
              <a:gd name="connsiteY0" fmla="*/ 155575 h 4416425"/>
              <a:gd name="connsiteX1" fmla="*/ 1888879 w 3614049"/>
              <a:gd name="connsiteY1" fmla="*/ 0 h 4416425"/>
              <a:gd name="connsiteX2" fmla="*/ 2225675 w 3614049"/>
              <a:gd name="connsiteY2" fmla="*/ 47625 h 4416425"/>
              <a:gd name="connsiteX3" fmla="*/ 3362079 w 3614049"/>
              <a:gd name="connsiteY3" fmla="*/ 1066800 h 4416425"/>
              <a:gd name="connsiteX4" fmla="*/ 3441700 w 3614049"/>
              <a:gd name="connsiteY4" fmla="*/ 3448050 h 4416425"/>
              <a:gd name="connsiteX5" fmla="*/ 2422525 w 3614049"/>
              <a:gd name="connsiteY5" fmla="*/ 4416425 h 4416425"/>
              <a:gd name="connsiteX6" fmla="*/ 0 w 3614049"/>
              <a:gd name="connsiteY6" fmla="*/ 4416425 h 4416425"/>
              <a:gd name="connsiteX7" fmla="*/ 2130425 w 3614049"/>
              <a:gd name="connsiteY7" fmla="*/ 2286000 h 4416425"/>
              <a:gd name="connsiteX8" fmla="*/ 0 w 3614049"/>
              <a:gd name="connsiteY8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2130425 w 4199688"/>
              <a:gd name="connsiteY7" fmla="*/ 2286000 h 4416425"/>
              <a:gd name="connsiteX8" fmla="*/ 0 w 4199688"/>
              <a:gd name="connsiteY8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831975 w 4199688"/>
              <a:gd name="connsiteY7" fmla="*/ 2279650 h 4416425"/>
              <a:gd name="connsiteX8" fmla="*/ 0 w 4199688"/>
              <a:gd name="connsiteY8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0 w 4199688"/>
              <a:gd name="connsiteY8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834779 w 4199688"/>
              <a:gd name="connsiteY8" fmla="*/ 1606551 h 4416425"/>
              <a:gd name="connsiteX9" fmla="*/ 0 w 4199688"/>
              <a:gd name="connsiteY9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488829 w 4199688"/>
              <a:gd name="connsiteY8" fmla="*/ 1593851 h 4416425"/>
              <a:gd name="connsiteX9" fmla="*/ 0 w 4199688"/>
              <a:gd name="connsiteY9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526929 w 4199688"/>
              <a:gd name="connsiteY8" fmla="*/ 2190751 h 4416425"/>
              <a:gd name="connsiteX9" fmla="*/ 1488829 w 4199688"/>
              <a:gd name="connsiteY9" fmla="*/ 159385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488829 w 4199688"/>
              <a:gd name="connsiteY9" fmla="*/ 159385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488829 w 4199688"/>
              <a:gd name="connsiteY9" fmla="*/ 159385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488829 w 4199688"/>
              <a:gd name="connsiteY9" fmla="*/ 159385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1355479 w 4199688"/>
              <a:gd name="connsiteY10" fmla="*/ 1460501 h 4416425"/>
              <a:gd name="connsiteX11" fmla="*/ 0 w 4199688"/>
              <a:gd name="connsiteY11" fmla="*/ 155575 h 4416425"/>
              <a:gd name="connsiteX0" fmla="*/ 1041400 w 4199688"/>
              <a:gd name="connsiteY0" fmla="*/ 5746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1355479 w 4199688"/>
              <a:gd name="connsiteY10" fmla="*/ 1460501 h 4416425"/>
              <a:gd name="connsiteX11" fmla="*/ 1041400 w 4199688"/>
              <a:gd name="connsiteY11" fmla="*/ 574675 h 4416425"/>
              <a:gd name="connsiteX0" fmla="*/ 1041400 w 4199688"/>
              <a:gd name="connsiteY0" fmla="*/ 5746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1355479 w 4199688"/>
              <a:gd name="connsiteY10" fmla="*/ 1460501 h 4416425"/>
              <a:gd name="connsiteX11" fmla="*/ 1041400 w 4199688"/>
              <a:gd name="connsiteY11" fmla="*/ 574675 h 4416425"/>
              <a:gd name="connsiteX0" fmla="*/ 1041400 w 4199688"/>
              <a:gd name="connsiteY0" fmla="*/ 5746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1355479 w 4199688"/>
              <a:gd name="connsiteY10" fmla="*/ 1460501 h 4416425"/>
              <a:gd name="connsiteX11" fmla="*/ 1041400 w 4199688"/>
              <a:gd name="connsiteY11" fmla="*/ 574675 h 4416425"/>
              <a:gd name="connsiteX0" fmla="*/ 1041400 w 4199688"/>
              <a:gd name="connsiteY0" fmla="*/ 574675 h 4416425"/>
              <a:gd name="connsiteX1" fmla="*/ 1476129 w 4199688"/>
              <a:gd name="connsiteY1" fmla="*/ 2794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41381"/>
              <a:gd name="connsiteY0" fmla="*/ 574675 h 4416425"/>
              <a:gd name="connsiteX1" fmla="*/ 1361829 w 4141381"/>
              <a:gd name="connsiteY1" fmla="*/ 190501 h 4416425"/>
              <a:gd name="connsiteX2" fmla="*/ 1888879 w 4141381"/>
              <a:gd name="connsiteY2" fmla="*/ 0 h 4416425"/>
              <a:gd name="connsiteX3" fmla="*/ 2225675 w 4141381"/>
              <a:gd name="connsiteY3" fmla="*/ 47625 h 4416425"/>
              <a:gd name="connsiteX4" fmla="*/ 2574679 w 4141381"/>
              <a:gd name="connsiteY4" fmla="*/ 298451 h 4416425"/>
              <a:gd name="connsiteX5" fmla="*/ 3362079 w 4141381"/>
              <a:gd name="connsiteY5" fmla="*/ 1066800 h 4416425"/>
              <a:gd name="connsiteX6" fmla="*/ 3441700 w 4141381"/>
              <a:gd name="connsiteY6" fmla="*/ 3448050 h 4416425"/>
              <a:gd name="connsiteX7" fmla="*/ 2422525 w 4141381"/>
              <a:gd name="connsiteY7" fmla="*/ 4416425 h 4416425"/>
              <a:gd name="connsiteX8" fmla="*/ 0 w 4141381"/>
              <a:gd name="connsiteY8" fmla="*/ 4416425 h 4416425"/>
              <a:gd name="connsiteX9" fmla="*/ 1590675 w 4141381"/>
              <a:gd name="connsiteY9" fmla="*/ 2901950 h 4416425"/>
              <a:gd name="connsiteX10" fmla="*/ 1825379 w 4141381"/>
              <a:gd name="connsiteY10" fmla="*/ 2203451 h 4416425"/>
              <a:gd name="connsiteX11" fmla="*/ 1647579 w 4141381"/>
              <a:gd name="connsiteY11" fmla="*/ 1739901 h 4416425"/>
              <a:gd name="connsiteX12" fmla="*/ 1355479 w 4141381"/>
              <a:gd name="connsiteY12" fmla="*/ 1460501 h 4416425"/>
              <a:gd name="connsiteX13" fmla="*/ 1041400 w 4141381"/>
              <a:gd name="connsiteY13" fmla="*/ 574675 h 4416425"/>
              <a:gd name="connsiteX0" fmla="*/ 1041400 w 4141381"/>
              <a:gd name="connsiteY0" fmla="*/ 574675 h 4416425"/>
              <a:gd name="connsiteX1" fmla="*/ 1361829 w 4141381"/>
              <a:gd name="connsiteY1" fmla="*/ 190501 h 4416425"/>
              <a:gd name="connsiteX2" fmla="*/ 1888879 w 4141381"/>
              <a:gd name="connsiteY2" fmla="*/ 0 h 4416425"/>
              <a:gd name="connsiteX3" fmla="*/ 2225675 w 4141381"/>
              <a:gd name="connsiteY3" fmla="*/ 47625 h 4416425"/>
              <a:gd name="connsiteX4" fmla="*/ 2574679 w 4141381"/>
              <a:gd name="connsiteY4" fmla="*/ 279401 h 4416425"/>
              <a:gd name="connsiteX5" fmla="*/ 3362079 w 4141381"/>
              <a:gd name="connsiteY5" fmla="*/ 1066800 h 4416425"/>
              <a:gd name="connsiteX6" fmla="*/ 3441700 w 4141381"/>
              <a:gd name="connsiteY6" fmla="*/ 3448050 h 4416425"/>
              <a:gd name="connsiteX7" fmla="*/ 2422525 w 4141381"/>
              <a:gd name="connsiteY7" fmla="*/ 4416425 h 4416425"/>
              <a:gd name="connsiteX8" fmla="*/ 0 w 4141381"/>
              <a:gd name="connsiteY8" fmla="*/ 4416425 h 4416425"/>
              <a:gd name="connsiteX9" fmla="*/ 1590675 w 4141381"/>
              <a:gd name="connsiteY9" fmla="*/ 2901950 h 4416425"/>
              <a:gd name="connsiteX10" fmla="*/ 1825379 w 4141381"/>
              <a:gd name="connsiteY10" fmla="*/ 2203451 h 4416425"/>
              <a:gd name="connsiteX11" fmla="*/ 1647579 w 4141381"/>
              <a:gd name="connsiteY11" fmla="*/ 1739901 h 4416425"/>
              <a:gd name="connsiteX12" fmla="*/ 1355479 w 4141381"/>
              <a:gd name="connsiteY12" fmla="*/ 1460501 h 4416425"/>
              <a:gd name="connsiteX13" fmla="*/ 1041400 w 4141381"/>
              <a:gd name="connsiteY13" fmla="*/ 574675 h 4416425"/>
              <a:gd name="connsiteX0" fmla="*/ 1041400 w 4141381"/>
              <a:gd name="connsiteY0" fmla="*/ 574675 h 4416425"/>
              <a:gd name="connsiteX1" fmla="*/ 1361829 w 4141381"/>
              <a:gd name="connsiteY1" fmla="*/ 190501 h 4416425"/>
              <a:gd name="connsiteX2" fmla="*/ 1888879 w 4141381"/>
              <a:gd name="connsiteY2" fmla="*/ 0 h 4416425"/>
              <a:gd name="connsiteX3" fmla="*/ 2225675 w 4141381"/>
              <a:gd name="connsiteY3" fmla="*/ 47625 h 4416425"/>
              <a:gd name="connsiteX4" fmla="*/ 2574679 w 4141381"/>
              <a:gd name="connsiteY4" fmla="*/ 279401 h 4416425"/>
              <a:gd name="connsiteX5" fmla="*/ 3362079 w 4141381"/>
              <a:gd name="connsiteY5" fmla="*/ 1066800 h 4416425"/>
              <a:gd name="connsiteX6" fmla="*/ 3441700 w 4141381"/>
              <a:gd name="connsiteY6" fmla="*/ 3448050 h 4416425"/>
              <a:gd name="connsiteX7" fmla="*/ 2422525 w 4141381"/>
              <a:gd name="connsiteY7" fmla="*/ 4416425 h 4416425"/>
              <a:gd name="connsiteX8" fmla="*/ 0 w 4141381"/>
              <a:gd name="connsiteY8" fmla="*/ 4416425 h 4416425"/>
              <a:gd name="connsiteX9" fmla="*/ 1590675 w 4141381"/>
              <a:gd name="connsiteY9" fmla="*/ 2901950 h 4416425"/>
              <a:gd name="connsiteX10" fmla="*/ 1825379 w 4141381"/>
              <a:gd name="connsiteY10" fmla="*/ 2203451 h 4416425"/>
              <a:gd name="connsiteX11" fmla="*/ 1647579 w 4141381"/>
              <a:gd name="connsiteY11" fmla="*/ 1739901 h 4416425"/>
              <a:gd name="connsiteX12" fmla="*/ 1355479 w 4141381"/>
              <a:gd name="connsiteY12" fmla="*/ 1460501 h 4416425"/>
              <a:gd name="connsiteX13" fmla="*/ 1041400 w 4141381"/>
              <a:gd name="connsiteY13" fmla="*/ 574675 h 4416425"/>
              <a:gd name="connsiteX0" fmla="*/ 1041400 w 4141381"/>
              <a:gd name="connsiteY0" fmla="*/ 574675 h 4416425"/>
              <a:gd name="connsiteX1" fmla="*/ 1361829 w 4141381"/>
              <a:gd name="connsiteY1" fmla="*/ 190501 h 4416425"/>
              <a:gd name="connsiteX2" fmla="*/ 1888879 w 4141381"/>
              <a:gd name="connsiteY2" fmla="*/ 0 h 4416425"/>
              <a:gd name="connsiteX3" fmla="*/ 2225675 w 4141381"/>
              <a:gd name="connsiteY3" fmla="*/ 47625 h 4416425"/>
              <a:gd name="connsiteX4" fmla="*/ 2574679 w 4141381"/>
              <a:gd name="connsiteY4" fmla="*/ 279401 h 4416425"/>
              <a:gd name="connsiteX5" fmla="*/ 3362079 w 4141381"/>
              <a:gd name="connsiteY5" fmla="*/ 1066800 h 4416425"/>
              <a:gd name="connsiteX6" fmla="*/ 3441700 w 4141381"/>
              <a:gd name="connsiteY6" fmla="*/ 3448050 h 4416425"/>
              <a:gd name="connsiteX7" fmla="*/ 2422525 w 4141381"/>
              <a:gd name="connsiteY7" fmla="*/ 4416425 h 4416425"/>
              <a:gd name="connsiteX8" fmla="*/ 0 w 4141381"/>
              <a:gd name="connsiteY8" fmla="*/ 4416425 h 4416425"/>
              <a:gd name="connsiteX9" fmla="*/ 1590675 w 4141381"/>
              <a:gd name="connsiteY9" fmla="*/ 2901950 h 4416425"/>
              <a:gd name="connsiteX10" fmla="*/ 1825379 w 4141381"/>
              <a:gd name="connsiteY10" fmla="*/ 2203451 h 4416425"/>
              <a:gd name="connsiteX11" fmla="*/ 1647579 w 4141381"/>
              <a:gd name="connsiteY11" fmla="*/ 1739901 h 4416425"/>
              <a:gd name="connsiteX12" fmla="*/ 1355479 w 4141381"/>
              <a:gd name="connsiteY12" fmla="*/ 1460501 h 4416425"/>
              <a:gd name="connsiteX13" fmla="*/ 1041400 w 4141381"/>
              <a:gd name="connsiteY13" fmla="*/ 574675 h 4416425"/>
              <a:gd name="connsiteX0" fmla="*/ 1041400 w 4212151"/>
              <a:gd name="connsiteY0" fmla="*/ 574675 h 4416425"/>
              <a:gd name="connsiteX1" fmla="*/ 1361829 w 4212151"/>
              <a:gd name="connsiteY1" fmla="*/ 190501 h 4416425"/>
              <a:gd name="connsiteX2" fmla="*/ 1888879 w 4212151"/>
              <a:gd name="connsiteY2" fmla="*/ 0 h 4416425"/>
              <a:gd name="connsiteX3" fmla="*/ 2225675 w 4212151"/>
              <a:gd name="connsiteY3" fmla="*/ 47625 h 4416425"/>
              <a:gd name="connsiteX4" fmla="*/ 2574679 w 4212151"/>
              <a:gd name="connsiteY4" fmla="*/ 279401 h 4416425"/>
              <a:gd name="connsiteX5" fmla="*/ 3362079 w 4212151"/>
              <a:gd name="connsiteY5" fmla="*/ 1066800 h 4416425"/>
              <a:gd name="connsiteX6" fmla="*/ 3441700 w 4212151"/>
              <a:gd name="connsiteY6" fmla="*/ 3448050 h 4416425"/>
              <a:gd name="connsiteX7" fmla="*/ 2422525 w 4212151"/>
              <a:gd name="connsiteY7" fmla="*/ 4416425 h 4416425"/>
              <a:gd name="connsiteX8" fmla="*/ 0 w 4212151"/>
              <a:gd name="connsiteY8" fmla="*/ 4416425 h 4416425"/>
              <a:gd name="connsiteX9" fmla="*/ 1590675 w 4212151"/>
              <a:gd name="connsiteY9" fmla="*/ 2901950 h 4416425"/>
              <a:gd name="connsiteX10" fmla="*/ 1825379 w 4212151"/>
              <a:gd name="connsiteY10" fmla="*/ 2203451 h 4416425"/>
              <a:gd name="connsiteX11" fmla="*/ 1647579 w 4212151"/>
              <a:gd name="connsiteY11" fmla="*/ 1739901 h 4416425"/>
              <a:gd name="connsiteX12" fmla="*/ 1355479 w 4212151"/>
              <a:gd name="connsiteY12" fmla="*/ 1460501 h 4416425"/>
              <a:gd name="connsiteX13" fmla="*/ 1041400 w 4212151"/>
              <a:gd name="connsiteY13" fmla="*/ 574675 h 4416425"/>
              <a:gd name="connsiteX0" fmla="*/ 1041400 w 4003839"/>
              <a:gd name="connsiteY0" fmla="*/ 574675 h 4416425"/>
              <a:gd name="connsiteX1" fmla="*/ 1361829 w 4003839"/>
              <a:gd name="connsiteY1" fmla="*/ 190501 h 4416425"/>
              <a:gd name="connsiteX2" fmla="*/ 1888879 w 4003839"/>
              <a:gd name="connsiteY2" fmla="*/ 0 h 4416425"/>
              <a:gd name="connsiteX3" fmla="*/ 2225675 w 4003839"/>
              <a:gd name="connsiteY3" fmla="*/ 47625 h 4416425"/>
              <a:gd name="connsiteX4" fmla="*/ 2574679 w 4003839"/>
              <a:gd name="connsiteY4" fmla="*/ 279401 h 4416425"/>
              <a:gd name="connsiteX5" fmla="*/ 3362079 w 4003839"/>
              <a:gd name="connsiteY5" fmla="*/ 1066800 h 4416425"/>
              <a:gd name="connsiteX6" fmla="*/ 4003430 w 4003839"/>
              <a:gd name="connsiteY6" fmla="*/ 2870201 h 4416425"/>
              <a:gd name="connsiteX7" fmla="*/ 3441700 w 4003839"/>
              <a:gd name="connsiteY7" fmla="*/ 3448050 h 4416425"/>
              <a:gd name="connsiteX8" fmla="*/ 2422525 w 4003839"/>
              <a:gd name="connsiteY8" fmla="*/ 4416425 h 4416425"/>
              <a:gd name="connsiteX9" fmla="*/ 0 w 4003839"/>
              <a:gd name="connsiteY9" fmla="*/ 4416425 h 4416425"/>
              <a:gd name="connsiteX10" fmla="*/ 1590675 w 4003839"/>
              <a:gd name="connsiteY10" fmla="*/ 2901950 h 4416425"/>
              <a:gd name="connsiteX11" fmla="*/ 1825379 w 4003839"/>
              <a:gd name="connsiteY11" fmla="*/ 2203451 h 4416425"/>
              <a:gd name="connsiteX12" fmla="*/ 1647579 w 4003839"/>
              <a:gd name="connsiteY12" fmla="*/ 1739901 h 4416425"/>
              <a:gd name="connsiteX13" fmla="*/ 1355479 w 4003839"/>
              <a:gd name="connsiteY13" fmla="*/ 1460501 h 4416425"/>
              <a:gd name="connsiteX14" fmla="*/ 1041400 w 4003839"/>
              <a:gd name="connsiteY14" fmla="*/ 574675 h 4416425"/>
              <a:gd name="connsiteX0" fmla="*/ 1041400 w 4187841"/>
              <a:gd name="connsiteY0" fmla="*/ 574675 h 4416425"/>
              <a:gd name="connsiteX1" fmla="*/ 1361829 w 4187841"/>
              <a:gd name="connsiteY1" fmla="*/ 190501 h 4416425"/>
              <a:gd name="connsiteX2" fmla="*/ 1888879 w 4187841"/>
              <a:gd name="connsiteY2" fmla="*/ 0 h 4416425"/>
              <a:gd name="connsiteX3" fmla="*/ 2225675 w 4187841"/>
              <a:gd name="connsiteY3" fmla="*/ 47625 h 4416425"/>
              <a:gd name="connsiteX4" fmla="*/ 2574679 w 4187841"/>
              <a:gd name="connsiteY4" fmla="*/ 279401 h 4416425"/>
              <a:gd name="connsiteX5" fmla="*/ 3362079 w 4187841"/>
              <a:gd name="connsiteY5" fmla="*/ 1066800 h 4416425"/>
              <a:gd name="connsiteX6" fmla="*/ 4187580 w 4187841"/>
              <a:gd name="connsiteY6" fmla="*/ 2279651 h 4416425"/>
              <a:gd name="connsiteX7" fmla="*/ 3441700 w 4187841"/>
              <a:gd name="connsiteY7" fmla="*/ 3448050 h 4416425"/>
              <a:gd name="connsiteX8" fmla="*/ 2422525 w 4187841"/>
              <a:gd name="connsiteY8" fmla="*/ 4416425 h 4416425"/>
              <a:gd name="connsiteX9" fmla="*/ 0 w 4187841"/>
              <a:gd name="connsiteY9" fmla="*/ 4416425 h 4416425"/>
              <a:gd name="connsiteX10" fmla="*/ 1590675 w 4187841"/>
              <a:gd name="connsiteY10" fmla="*/ 2901950 h 4416425"/>
              <a:gd name="connsiteX11" fmla="*/ 1825379 w 4187841"/>
              <a:gd name="connsiteY11" fmla="*/ 2203451 h 4416425"/>
              <a:gd name="connsiteX12" fmla="*/ 1647579 w 4187841"/>
              <a:gd name="connsiteY12" fmla="*/ 1739901 h 4416425"/>
              <a:gd name="connsiteX13" fmla="*/ 1355479 w 4187841"/>
              <a:gd name="connsiteY13" fmla="*/ 1460501 h 4416425"/>
              <a:gd name="connsiteX14" fmla="*/ 1041400 w 4187841"/>
              <a:gd name="connsiteY14" fmla="*/ 574675 h 4416425"/>
              <a:gd name="connsiteX0" fmla="*/ 1041400 w 4200656"/>
              <a:gd name="connsiteY0" fmla="*/ 574675 h 4416425"/>
              <a:gd name="connsiteX1" fmla="*/ 1361829 w 4200656"/>
              <a:gd name="connsiteY1" fmla="*/ 190501 h 4416425"/>
              <a:gd name="connsiteX2" fmla="*/ 1888879 w 4200656"/>
              <a:gd name="connsiteY2" fmla="*/ 0 h 4416425"/>
              <a:gd name="connsiteX3" fmla="*/ 2225675 w 4200656"/>
              <a:gd name="connsiteY3" fmla="*/ 47625 h 4416425"/>
              <a:gd name="connsiteX4" fmla="*/ 2574679 w 4200656"/>
              <a:gd name="connsiteY4" fmla="*/ 279401 h 4416425"/>
              <a:gd name="connsiteX5" fmla="*/ 3362079 w 4200656"/>
              <a:gd name="connsiteY5" fmla="*/ 1066800 h 4416425"/>
              <a:gd name="connsiteX6" fmla="*/ 3876430 w 4200656"/>
              <a:gd name="connsiteY6" fmla="*/ 1714501 h 4416425"/>
              <a:gd name="connsiteX7" fmla="*/ 4187580 w 4200656"/>
              <a:gd name="connsiteY7" fmla="*/ 2279651 h 4416425"/>
              <a:gd name="connsiteX8" fmla="*/ 3441700 w 4200656"/>
              <a:gd name="connsiteY8" fmla="*/ 3448050 h 4416425"/>
              <a:gd name="connsiteX9" fmla="*/ 2422525 w 4200656"/>
              <a:gd name="connsiteY9" fmla="*/ 4416425 h 4416425"/>
              <a:gd name="connsiteX10" fmla="*/ 0 w 4200656"/>
              <a:gd name="connsiteY10" fmla="*/ 4416425 h 4416425"/>
              <a:gd name="connsiteX11" fmla="*/ 1590675 w 4200656"/>
              <a:gd name="connsiteY11" fmla="*/ 2901950 h 4416425"/>
              <a:gd name="connsiteX12" fmla="*/ 1825379 w 4200656"/>
              <a:gd name="connsiteY12" fmla="*/ 2203451 h 4416425"/>
              <a:gd name="connsiteX13" fmla="*/ 1647579 w 4200656"/>
              <a:gd name="connsiteY13" fmla="*/ 1739901 h 4416425"/>
              <a:gd name="connsiteX14" fmla="*/ 1355479 w 4200656"/>
              <a:gd name="connsiteY14" fmla="*/ 1460501 h 4416425"/>
              <a:gd name="connsiteX15" fmla="*/ 1041400 w 4200656"/>
              <a:gd name="connsiteY15" fmla="*/ 574675 h 4416425"/>
              <a:gd name="connsiteX0" fmla="*/ 1041400 w 4204890"/>
              <a:gd name="connsiteY0" fmla="*/ 574675 h 4416425"/>
              <a:gd name="connsiteX1" fmla="*/ 1361829 w 4204890"/>
              <a:gd name="connsiteY1" fmla="*/ 190501 h 4416425"/>
              <a:gd name="connsiteX2" fmla="*/ 1888879 w 4204890"/>
              <a:gd name="connsiteY2" fmla="*/ 0 h 4416425"/>
              <a:gd name="connsiteX3" fmla="*/ 2225675 w 4204890"/>
              <a:gd name="connsiteY3" fmla="*/ 47625 h 4416425"/>
              <a:gd name="connsiteX4" fmla="*/ 2574679 w 4204890"/>
              <a:gd name="connsiteY4" fmla="*/ 279401 h 4416425"/>
              <a:gd name="connsiteX5" fmla="*/ 3362079 w 4204890"/>
              <a:gd name="connsiteY5" fmla="*/ 1066800 h 4416425"/>
              <a:gd name="connsiteX6" fmla="*/ 3952630 w 4204890"/>
              <a:gd name="connsiteY6" fmla="*/ 1663701 h 4416425"/>
              <a:gd name="connsiteX7" fmla="*/ 4187580 w 4204890"/>
              <a:gd name="connsiteY7" fmla="*/ 2279651 h 4416425"/>
              <a:gd name="connsiteX8" fmla="*/ 3441700 w 4204890"/>
              <a:gd name="connsiteY8" fmla="*/ 3448050 h 4416425"/>
              <a:gd name="connsiteX9" fmla="*/ 2422525 w 4204890"/>
              <a:gd name="connsiteY9" fmla="*/ 4416425 h 4416425"/>
              <a:gd name="connsiteX10" fmla="*/ 0 w 4204890"/>
              <a:gd name="connsiteY10" fmla="*/ 4416425 h 4416425"/>
              <a:gd name="connsiteX11" fmla="*/ 1590675 w 4204890"/>
              <a:gd name="connsiteY11" fmla="*/ 2901950 h 4416425"/>
              <a:gd name="connsiteX12" fmla="*/ 1825379 w 4204890"/>
              <a:gd name="connsiteY12" fmla="*/ 2203451 h 4416425"/>
              <a:gd name="connsiteX13" fmla="*/ 1647579 w 4204890"/>
              <a:gd name="connsiteY13" fmla="*/ 1739901 h 4416425"/>
              <a:gd name="connsiteX14" fmla="*/ 1355479 w 4204890"/>
              <a:gd name="connsiteY14" fmla="*/ 1460501 h 4416425"/>
              <a:gd name="connsiteX15" fmla="*/ 1041400 w 4204890"/>
              <a:gd name="connsiteY15" fmla="*/ 574675 h 4416425"/>
              <a:gd name="connsiteX0" fmla="*/ 1041400 w 4204890"/>
              <a:gd name="connsiteY0" fmla="*/ 574675 h 4416425"/>
              <a:gd name="connsiteX1" fmla="*/ 1361829 w 4204890"/>
              <a:gd name="connsiteY1" fmla="*/ 190501 h 4416425"/>
              <a:gd name="connsiteX2" fmla="*/ 1888879 w 4204890"/>
              <a:gd name="connsiteY2" fmla="*/ 0 h 4416425"/>
              <a:gd name="connsiteX3" fmla="*/ 2225675 w 4204890"/>
              <a:gd name="connsiteY3" fmla="*/ 47625 h 4416425"/>
              <a:gd name="connsiteX4" fmla="*/ 2574679 w 4204890"/>
              <a:gd name="connsiteY4" fmla="*/ 279401 h 4416425"/>
              <a:gd name="connsiteX5" fmla="*/ 3362079 w 4204890"/>
              <a:gd name="connsiteY5" fmla="*/ 1066800 h 4416425"/>
              <a:gd name="connsiteX6" fmla="*/ 3952630 w 4204890"/>
              <a:gd name="connsiteY6" fmla="*/ 1663701 h 4416425"/>
              <a:gd name="connsiteX7" fmla="*/ 4187580 w 4204890"/>
              <a:gd name="connsiteY7" fmla="*/ 2279651 h 4416425"/>
              <a:gd name="connsiteX8" fmla="*/ 3441700 w 4204890"/>
              <a:gd name="connsiteY8" fmla="*/ 3448050 h 4416425"/>
              <a:gd name="connsiteX9" fmla="*/ 2422525 w 4204890"/>
              <a:gd name="connsiteY9" fmla="*/ 4416425 h 4416425"/>
              <a:gd name="connsiteX10" fmla="*/ 0 w 4204890"/>
              <a:gd name="connsiteY10" fmla="*/ 4416425 h 4416425"/>
              <a:gd name="connsiteX11" fmla="*/ 1590675 w 4204890"/>
              <a:gd name="connsiteY11" fmla="*/ 2901950 h 4416425"/>
              <a:gd name="connsiteX12" fmla="*/ 1825379 w 4204890"/>
              <a:gd name="connsiteY12" fmla="*/ 2203451 h 4416425"/>
              <a:gd name="connsiteX13" fmla="*/ 1647579 w 4204890"/>
              <a:gd name="connsiteY13" fmla="*/ 1739901 h 4416425"/>
              <a:gd name="connsiteX14" fmla="*/ 1355479 w 4204890"/>
              <a:gd name="connsiteY14" fmla="*/ 1460501 h 4416425"/>
              <a:gd name="connsiteX15" fmla="*/ 1041400 w 4204890"/>
              <a:gd name="connsiteY15" fmla="*/ 574675 h 4416425"/>
              <a:gd name="connsiteX0" fmla="*/ 1041400 w 4203672"/>
              <a:gd name="connsiteY0" fmla="*/ 574675 h 4416425"/>
              <a:gd name="connsiteX1" fmla="*/ 1361829 w 4203672"/>
              <a:gd name="connsiteY1" fmla="*/ 190501 h 4416425"/>
              <a:gd name="connsiteX2" fmla="*/ 1888879 w 4203672"/>
              <a:gd name="connsiteY2" fmla="*/ 0 h 4416425"/>
              <a:gd name="connsiteX3" fmla="*/ 2225675 w 4203672"/>
              <a:gd name="connsiteY3" fmla="*/ 47625 h 4416425"/>
              <a:gd name="connsiteX4" fmla="*/ 2574679 w 4203672"/>
              <a:gd name="connsiteY4" fmla="*/ 279401 h 4416425"/>
              <a:gd name="connsiteX5" fmla="*/ 3362079 w 4203672"/>
              <a:gd name="connsiteY5" fmla="*/ 1066800 h 4416425"/>
              <a:gd name="connsiteX6" fmla="*/ 3952630 w 4203672"/>
              <a:gd name="connsiteY6" fmla="*/ 1663701 h 4416425"/>
              <a:gd name="connsiteX7" fmla="*/ 4187580 w 4203672"/>
              <a:gd name="connsiteY7" fmla="*/ 2279651 h 4416425"/>
              <a:gd name="connsiteX8" fmla="*/ 3441700 w 4203672"/>
              <a:gd name="connsiteY8" fmla="*/ 3448050 h 4416425"/>
              <a:gd name="connsiteX9" fmla="*/ 2422525 w 4203672"/>
              <a:gd name="connsiteY9" fmla="*/ 4416425 h 4416425"/>
              <a:gd name="connsiteX10" fmla="*/ 0 w 4203672"/>
              <a:gd name="connsiteY10" fmla="*/ 4416425 h 4416425"/>
              <a:gd name="connsiteX11" fmla="*/ 1590675 w 4203672"/>
              <a:gd name="connsiteY11" fmla="*/ 2901950 h 4416425"/>
              <a:gd name="connsiteX12" fmla="*/ 1825379 w 4203672"/>
              <a:gd name="connsiteY12" fmla="*/ 2203451 h 4416425"/>
              <a:gd name="connsiteX13" fmla="*/ 1647579 w 4203672"/>
              <a:gd name="connsiteY13" fmla="*/ 1739901 h 4416425"/>
              <a:gd name="connsiteX14" fmla="*/ 1355479 w 4203672"/>
              <a:gd name="connsiteY14" fmla="*/ 1460501 h 4416425"/>
              <a:gd name="connsiteX15" fmla="*/ 1041400 w 4203672"/>
              <a:gd name="connsiteY15" fmla="*/ 574675 h 4416425"/>
              <a:gd name="connsiteX0" fmla="*/ 1041400 w 4191105"/>
              <a:gd name="connsiteY0" fmla="*/ 574675 h 4416425"/>
              <a:gd name="connsiteX1" fmla="*/ 1361829 w 4191105"/>
              <a:gd name="connsiteY1" fmla="*/ 190501 h 4416425"/>
              <a:gd name="connsiteX2" fmla="*/ 1888879 w 4191105"/>
              <a:gd name="connsiteY2" fmla="*/ 0 h 4416425"/>
              <a:gd name="connsiteX3" fmla="*/ 2225675 w 4191105"/>
              <a:gd name="connsiteY3" fmla="*/ 47625 h 4416425"/>
              <a:gd name="connsiteX4" fmla="*/ 2574679 w 4191105"/>
              <a:gd name="connsiteY4" fmla="*/ 279401 h 4416425"/>
              <a:gd name="connsiteX5" fmla="*/ 3362079 w 4191105"/>
              <a:gd name="connsiteY5" fmla="*/ 1066800 h 4416425"/>
              <a:gd name="connsiteX6" fmla="*/ 3952630 w 4191105"/>
              <a:gd name="connsiteY6" fmla="*/ 1663701 h 4416425"/>
              <a:gd name="connsiteX7" fmla="*/ 4187580 w 4191105"/>
              <a:gd name="connsiteY7" fmla="*/ 2279651 h 4416425"/>
              <a:gd name="connsiteX8" fmla="*/ 3441700 w 4191105"/>
              <a:gd name="connsiteY8" fmla="*/ 3448050 h 4416425"/>
              <a:gd name="connsiteX9" fmla="*/ 2422525 w 4191105"/>
              <a:gd name="connsiteY9" fmla="*/ 4416425 h 4416425"/>
              <a:gd name="connsiteX10" fmla="*/ 0 w 4191105"/>
              <a:gd name="connsiteY10" fmla="*/ 4416425 h 4416425"/>
              <a:gd name="connsiteX11" fmla="*/ 1590675 w 4191105"/>
              <a:gd name="connsiteY11" fmla="*/ 2901950 h 4416425"/>
              <a:gd name="connsiteX12" fmla="*/ 1825379 w 4191105"/>
              <a:gd name="connsiteY12" fmla="*/ 2203451 h 4416425"/>
              <a:gd name="connsiteX13" fmla="*/ 1647579 w 4191105"/>
              <a:gd name="connsiteY13" fmla="*/ 1739901 h 4416425"/>
              <a:gd name="connsiteX14" fmla="*/ 1355479 w 4191105"/>
              <a:gd name="connsiteY14" fmla="*/ 1460501 h 4416425"/>
              <a:gd name="connsiteX15" fmla="*/ 1041400 w 4191105"/>
              <a:gd name="connsiteY15" fmla="*/ 574675 h 4416425"/>
              <a:gd name="connsiteX0" fmla="*/ 1041400 w 4191105"/>
              <a:gd name="connsiteY0" fmla="*/ 574675 h 4416425"/>
              <a:gd name="connsiteX1" fmla="*/ 1361829 w 4191105"/>
              <a:gd name="connsiteY1" fmla="*/ 190501 h 4416425"/>
              <a:gd name="connsiteX2" fmla="*/ 1888879 w 4191105"/>
              <a:gd name="connsiteY2" fmla="*/ 0 h 4416425"/>
              <a:gd name="connsiteX3" fmla="*/ 2225675 w 4191105"/>
              <a:gd name="connsiteY3" fmla="*/ 47625 h 4416425"/>
              <a:gd name="connsiteX4" fmla="*/ 2574679 w 4191105"/>
              <a:gd name="connsiteY4" fmla="*/ 279401 h 4416425"/>
              <a:gd name="connsiteX5" fmla="*/ 3362079 w 4191105"/>
              <a:gd name="connsiteY5" fmla="*/ 1066800 h 4416425"/>
              <a:gd name="connsiteX6" fmla="*/ 3952630 w 4191105"/>
              <a:gd name="connsiteY6" fmla="*/ 1663701 h 4416425"/>
              <a:gd name="connsiteX7" fmla="*/ 4187580 w 4191105"/>
              <a:gd name="connsiteY7" fmla="*/ 2279651 h 4416425"/>
              <a:gd name="connsiteX8" fmla="*/ 3971680 w 4191105"/>
              <a:gd name="connsiteY8" fmla="*/ 2743201 h 4416425"/>
              <a:gd name="connsiteX9" fmla="*/ 3441700 w 4191105"/>
              <a:gd name="connsiteY9" fmla="*/ 3448050 h 4416425"/>
              <a:gd name="connsiteX10" fmla="*/ 2422525 w 4191105"/>
              <a:gd name="connsiteY10" fmla="*/ 4416425 h 4416425"/>
              <a:gd name="connsiteX11" fmla="*/ 0 w 4191105"/>
              <a:gd name="connsiteY11" fmla="*/ 4416425 h 4416425"/>
              <a:gd name="connsiteX12" fmla="*/ 1590675 w 4191105"/>
              <a:gd name="connsiteY12" fmla="*/ 2901950 h 4416425"/>
              <a:gd name="connsiteX13" fmla="*/ 1825379 w 4191105"/>
              <a:gd name="connsiteY13" fmla="*/ 2203451 h 4416425"/>
              <a:gd name="connsiteX14" fmla="*/ 1647579 w 4191105"/>
              <a:gd name="connsiteY14" fmla="*/ 1739901 h 4416425"/>
              <a:gd name="connsiteX15" fmla="*/ 1355479 w 4191105"/>
              <a:gd name="connsiteY15" fmla="*/ 1460501 h 4416425"/>
              <a:gd name="connsiteX16" fmla="*/ 1041400 w 4191105"/>
              <a:gd name="connsiteY16" fmla="*/ 574675 h 4416425"/>
              <a:gd name="connsiteX0" fmla="*/ 1041400 w 4191105"/>
              <a:gd name="connsiteY0" fmla="*/ 574675 h 4416425"/>
              <a:gd name="connsiteX1" fmla="*/ 1361829 w 4191105"/>
              <a:gd name="connsiteY1" fmla="*/ 190501 h 4416425"/>
              <a:gd name="connsiteX2" fmla="*/ 1888879 w 4191105"/>
              <a:gd name="connsiteY2" fmla="*/ 0 h 4416425"/>
              <a:gd name="connsiteX3" fmla="*/ 2225675 w 4191105"/>
              <a:gd name="connsiteY3" fmla="*/ 47625 h 4416425"/>
              <a:gd name="connsiteX4" fmla="*/ 2574679 w 4191105"/>
              <a:gd name="connsiteY4" fmla="*/ 279401 h 4416425"/>
              <a:gd name="connsiteX5" fmla="*/ 3362079 w 4191105"/>
              <a:gd name="connsiteY5" fmla="*/ 1066800 h 4416425"/>
              <a:gd name="connsiteX6" fmla="*/ 3952630 w 4191105"/>
              <a:gd name="connsiteY6" fmla="*/ 1663701 h 4416425"/>
              <a:gd name="connsiteX7" fmla="*/ 4187580 w 4191105"/>
              <a:gd name="connsiteY7" fmla="*/ 2279651 h 4416425"/>
              <a:gd name="connsiteX8" fmla="*/ 4035180 w 4191105"/>
              <a:gd name="connsiteY8" fmla="*/ 2819401 h 4416425"/>
              <a:gd name="connsiteX9" fmla="*/ 3441700 w 4191105"/>
              <a:gd name="connsiteY9" fmla="*/ 3448050 h 4416425"/>
              <a:gd name="connsiteX10" fmla="*/ 2422525 w 4191105"/>
              <a:gd name="connsiteY10" fmla="*/ 4416425 h 4416425"/>
              <a:gd name="connsiteX11" fmla="*/ 0 w 4191105"/>
              <a:gd name="connsiteY11" fmla="*/ 4416425 h 4416425"/>
              <a:gd name="connsiteX12" fmla="*/ 1590675 w 4191105"/>
              <a:gd name="connsiteY12" fmla="*/ 2901950 h 4416425"/>
              <a:gd name="connsiteX13" fmla="*/ 1825379 w 4191105"/>
              <a:gd name="connsiteY13" fmla="*/ 2203451 h 4416425"/>
              <a:gd name="connsiteX14" fmla="*/ 1647579 w 4191105"/>
              <a:gd name="connsiteY14" fmla="*/ 1739901 h 4416425"/>
              <a:gd name="connsiteX15" fmla="*/ 1355479 w 4191105"/>
              <a:gd name="connsiteY15" fmla="*/ 1460501 h 4416425"/>
              <a:gd name="connsiteX16" fmla="*/ 1041400 w 4191105"/>
              <a:gd name="connsiteY16" fmla="*/ 574675 h 4416425"/>
              <a:gd name="connsiteX0" fmla="*/ 1041400 w 4191237"/>
              <a:gd name="connsiteY0" fmla="*/ 574675 h 4416425"/>
              <a:gd name="connsiteX1" fmla="*/ 1361829 w 4191237"/>
              <a:gd name="connsiteY1" fmla="*/ 190501 h 4416425"/>
              <a:gd name="connsiteX2" fmla="*/ 1888879 w 4191237"/>
              <a:gd name="connsiteY2" fmla="*/ 0 h 4416425"/>
              <a:gd name="connsiteX3" fmla="*/ 2225675 w 4191237"/>
              <a:gd name="connsiteY3" fmla="*/ 47625 h 4416425"/>
              <a:gd name="connsiteX4" fmla="*/ 2574679 w 4191237"/>
              <a:gd name="connsiteY4" fmla="*/ 279401 h 4416425"/>
              <a:gd name="connsiteX5" fmla="*/ 3362079 w 4191237"/>
              <a:gd name="connsiteY5" fmla="*/ 1066800 h 4416425"/>
              <a:gd name="connsiteX6" fmla="*/ 3952630 w 4191237"/>
              <a:gd name="connsiteY6" fmla="*/ 1663701 h 4416425"/>
              <a:gd name="connsiteX7" fmla="*/ 4187580 w 4191237"/>
              <a:gd name="connsiteY7" fmla="*/ 2279651 h 4416425"/>
              <a:gd name="connsiteX8" fmla="*/ 4035180 w 4191237"/>
              <a:gd name="connsiteY8" fmla="*/ 2819401 h 4416425"/>
              <a:gd name="connsiteX9" fmla="*/ 3441700 w 4191237"/>
              <a:gd name="connsiteY9" fmla="*/ 3448050 h 4416425"/>
              <a:gd name="connsiteX10" fmla="*/ 2422525 w 4191237"/>
              <a:gd name="connsiteY10" fmla="*/ 4416425 h 4416425"/>
              <a:gd name="connsiteX11" fmla="*/ 0 w 4191237"/>
              <a:gd name="connsiteY11" fmla="*/ 4416425 h 4416425"/>
              <a:gd name="connsiteX12" fmla="*/ 1590675 w 4191237"/>
              <a:gd name="connsiteY12" fmla="*/ 2901950 h 4416425"/>
              <a:gd name="connsiteX13" fmla="*/ 1825379 w 4191237"/>
              <a:gd name="connsiteY13" fmla="*/ 2203451 h 4416425"/>
              <a:gd name="connsiteX14" fmla="*/ 1647579 w 4191237"/>
              <a:gd name="connsiteY14" fmla="*/ 1739901 h 4416425"/>
              <a:gd name="connsiteX15" fmla="*/ 1355479 w 4191237"/>
              <a:gd name="connsiteY15" fmla="*/ 1460501 h 4416425"/>
              <a:gd name="connsiteX16" fmla="*/ 1041400 w 4191237"/>
              <a:gd name="connsiteY16" fmla="*/ 574675 h 4416425"/>
              <a:gd name="connsiteX0" fmla="*/ 1041400 w 4191237"/>
              <a:gd name="connsiteY0" fmla="*/ 574675 h 4416425"/>
              <a:gd name="connsiteX1" fmla="*/ 1361829 w 4191237"/>
              <a:gd name="connsiteY1" fmla="*/ 190501 h 4416425"/>
              <a:gd name="connsiteX2" fmla="*/ 1888879 w 4191237"/>
              <a:gd name="connsiteY2" fmla="*/ 0 h 4416425"/>
              <a:gd name="connsiteX3" fmla="*/ 2225675 w 4191237"/>
              <a:gd name="connsiteY3" fmla="*/ 47625 h 4416425"/>
              <a:gd name="connsiteX4" fmla="*/ 2574679 w 4191237"/>
              <a:gd name="connsiteY4" fmla="*/ 279401 h 4416425"/>
              <a:gd name="connsiteX5" fmla="*/ 3362079 w 4191237"/>
              <a:gd name="connsiteY5" fmla="*/ 1066800 h 4416425"/>
              <a:gd name="connsiteX6" fmla="*/ 3952630 w 4191237"/>
              <a:gd name="connsiteY6" fmla="*/ 1663701 h 4416425"/>
              <a:gd name="connsiteX7" fmla="*/ 4187580 w 4191237"/>
              <a:gd name="connsiteY7" fmla="*/ 2279651 h 4416425"/>
              <a:gd name="connsiteX8" fmla="*/ 4035180 w 4191237"/>
              <a:gd name="connsiteY8" fmla="*/ 2819401 h 4416425"/>
              <a:gd name="connsiteX9" fmla="*/ 3441700 w 4191237"/>
              <a:gd name="connsiteY9" fmla="*/ 3448050 h 4416425"/>
              <a:gd name="connsiteX10" fmla="*/ 2422525 w 4191237"/>
              <a:gd name="connsiteY10" fmla="*/ 4416425 h 4416425"/>
              <a:gd name="connsiteX11" fmla="*/ 0 w 4191237"/>
              <a:gd name="connsiteY11" fmla="*/ 4416425 h 4416425"/>
              <a:gd name="connsiteX12" fmla="*/ 1590675 w 4191237"/>
              <a:gd name="connsiteY12" fmla="*/ 2901950 h 4416425"/>
              <a:gd name="connsiteX13" fmla="*/ 1825379 w 4191237"/>
              <a:gd name="connsiteY13" fmla="*/ 2203451 h 4416425"/>
              <a:gd name="connsiteX14" fmla="*/ 1647579 w 4191237"/>
              <a:gd name="connsiteY14" fmla="*/ 1739901 h 4416425"/>
              <a:gd name="connsiteX15" fmla="*/ 1355479 w 4191237"/>
              <a:gd name="connsiteY15" fmla="*/ 1460501 h 4416425"/>
              <a:gd name="connsiteX16" fmla="*/ 1041400 w 4191237"/>
              <a:gd name="connsiteY16" fmla="*/ 574675 h 4416425"/>
              <a:gd name="connsiteX0" fmla="*/ 1041400 w 4191237"/>
              <a:gd name="connsiteY0" fmla="*/ 574675 h 4416425"/>
              <a:gd name="connsiteX1" fmla="*/ 1361829 w 4191237"/>
              <a:gd name="connsiteY1" fmla="*/ 190501 h 4416425"/>
              <a:gd name="connsiteX2" fmla="*/ 1888879 w 4191237"/>
              <a:gd name="connsiteY2" fmla="*/ 0 h 4416425"/>
              <a:gd name="connsiteX3" fmla="*/ 2225675 w 4191237"/>
              <a:gd name="connsiteY3" fmla="*/ 47625 h 4416425"/>
              <a:gd name="connsiteX4" fmla="*/ 2574679 w 4191237"/>
              <a:gd name="connsiteY4" fmla="*/ 279401 h 4416425"/>
              <a:gd name="connsiteX5" fmla="*/ 3362079 w 4191237"/>
              <a:gd name="connsiteY5" fmla="*/ 1066800 h 4416425"/>
              <a:gd name="connsiteX6" fmla="*/ 3952630 w 4191237"/>
              <a:gd name="connsiteY6" fmla="*/ 1663701 h 4416425"/>
              <a:gd name="connsiteX7" fmla="*/ 4187580 w 4191237"/>
              <a:gd name="connsiteY7" fmla="*/ 2279651 h 4416425"/>
              <a:gd name="connsiteX8" fmla="*/ 3978030 w 4191237"/>
              <a:gd name="connsiteY8" fmla="*/ 2882901 h 4416425"/>
              <a:gd name="connsiteX9" fmla="*/ 3441700 w 4191237"/>
              <a:gd name="connsiteY9" fmla="*/ 3448050 h 4416425"/>
              <a:gd name="connsiteX10" fmla="*/ 2422525 w 4191237"/>
              <a:gd name="connsiteY10" fmla="*/ 4416425 h 4416425"/>
              <a:gd name="connsiteX11" fmla="*/ 0 w 4191237"/>
              <a:gd name="connsiteY11" fmla="*/ 4416425 h 4416425"/>
              <a:gd name="connsiteX12" fmla="*/ 1590675 w 4191237"/>
              <a:gd name="connsiteY12" fmla="*/ 2901950 h 4416425"/>
              <a:gd name="connsiteX13" fmla="*/ 1825379 w 4191237"/>
              <a:gd name="connsiteY13" fmla="*/ 2203451 h 4416425"/>
              <a:gd name="connsiteX14" fmla="*/ 1647579 w 4191237"/>
              <a:gd name="connsiteY14" fmla="*/ 1739901 h 4416425"/>
              <a:gd name="connsiteX15" fmla="*/ 1355479 w 4191237"/>
              <a:gd name="connsiteY15" fmla="*/ 1460501 h 4416425"/>
              <a:gd name="connsiteX16" fmla="*/ 1041400 w 4191237"/>
              <a:gd name="connsiteY16" fmla="*/ 574675 h 4416425"/>
              <a:gd name="connsiteX0" fmla="*/ 1041400 w 4191237"/>
              <a:gd name="connsiteY0" fmla="*/ 574675 h 4416425"/>
              <a:gd name="connsiteX1" fmla="*/ 1361829 w 4191237"/>
              <a:gd name="connsiteY1" fmla="*/ 190501 h 4416425"/>
              <a:gd name="connsiteX2" fmla="*/ 1888879 w 4191237"/>
              <a:gd name="connsiteY2" fmla="*/ 0 h 4416425"/>
              <a:gd name="connsiteX3" fmla="*/ 2225675 w 4191237"/>
              <a:gd name="connsiteY3" fmla="*/ 47625 h 4416425"/>
              <a:gd name="connsiteX4" fmla="*/ 2574679 w 4191237"/>
              <a:gd name="connsiteY4" fmla="*/ 279401 h 4416425"/>
              <a:gd name="connsiteX5" fmla="*/ 3362079 w 4191237"/>
              <a:gd name="connsiteY5" fmla="*/ 1066800 h 4416425"/>
              <a:gd name="connsiteX6" fmla="*/ 3952630 w 4191237"/>
              <a:gd name="connsiteY6" fmla="*/ 1663701 h 4416425"/>
              <a:gd name="connsiteX7" fmla="*/ 4187580 w 4191237"/>
              <a:gd name="connsiteY7" fmla="*/ 2279651 h 4416425"/>
              <a:gd name="connsiteX8" fmla="*/ 3978030 w 4191237"/>
              <a:gd name="connsiteY8" fmla="*/ 2882901 h 4416425"/>
              <a:gd name="connsiteX9" fmla="*/ 3441700 w 4191237"/>
              <a:gd name="connsiteY9" fmla="*/ 3448050 h 4416425"/>
              <a:gd name="connsiteX10" fmla="*/ 2422525 w 4191237"/>
              <a:gd name="connsiteY10" fmla="*/ 4416425 h 4416425"/>
              <a:gd name="connsiteX11" fmla="*/ 0 w 4191237"/>
              <a:gd name="connsiteY11" fmla="*/ 4416425 h 4416425"/>
              <a:gd name="connsiteX12" fmla="*/ 1590675 w 4191237"/>
              <a:gd name="connsiteY12" fmla="*/ 2901950 h 4416425"/>
              <a:gd name="connsiteX13" fmla="*/ 1825379 w 4191237"/>
              <a:gd name="connsiteY13" fmla="*/ 2203451 h 4416425"/>
              <a:gd name="connsiteX14" fmla="*/ 1647579 w 4191237"/>
              <a:gd name="connsiteY14" fmla="*/ 1739901 h 4416425"/>
              <a:gd name="connsiteX15" fmla="*/ 1355479 w 4191237"/>
              <a:gd name="connsiteY15" fmla="*/ 1460501 h 4416425"/>
              <a:gd name="connsiteX16" fmla="*/ 1041400 w 4191237"/>
              <a:gd name="connsiteY16" fmla="*/ 574675 h 4416425"/>
              <a:gd name="connsiteX0" fmla="*/ 1041400 w 4191237"/>
              <a:gd name="connsiteY0" fmla="*/ 574675 h 4416425"/>
              <a:gd name="connsiteX1" fmla="*/ 1361829 w 4191237"/>
              <a:gd name="connsiteY1" fmla="*/ 190501 h 4416425"/>
              <a:gd name="connsiteX2" fmla="*/ 1888879 w 4191237"/>
              <a:gd name="connsiteY2" fmla="*/ 0 h 4416425"/>
              <a:gd name="connsiteX3" fmla="*/ 2225675 w 4191237"/>
              <a:gd name="connsiteY3" fmla="*/ 47625 h 4416425"/>
              <a:gd name="connsiteX4" fmla="*/ 2574679 w 4191237"/>
              <a:gd name="connsiteY4" fmla="*/ 279401 h 4416425"/>
              <a:gd name="connsiteX5" fmla="*/ 3362079 w 4191237"/>
              <a:gd name="connsiteY5" fmla="*/ 1066800 h 4416425"/>
              <a:gd name="connsiteX6" fmla="*/ 3952630 w 4191237"/>
              <a:gd name="connsiteY6" fmla="*/ 1663701 h 4416425"/>
              <a:gd name="connsiteX7" fmla="*/ 4187580 w 4191237"/>
              <a:gd name="connsiteY7" fmla="*/ 2279651 h 4416425"/>
              <a:gd name="connsiteX8" fmla="*/ 3978030 w 4191237"/>
              <a:gd name="connsiteY8" fmla="*/ 2882901 h 4416425"/>
              <a:gd name="connsiteX9" fmla="*/ 3441700 w 4191237"/>
              <a:gd name="connsiteY9" fmla="*/ 3448050 h 4416425"/>
              <a:gd name="connsiteX10" fmla="*/ 2422525 w 4191237"/>
              <a:gd name="connsiteY10" fmla="*/ 4416425 h 4416425"/>
              <a:gd name="connsiteX11" fmla="*/ 0 w 4191237"/>
              <a:gd name="connsiteY11" fmla="*/ 4416425 h 4416425"/>
              <a:gd name="connsiteX12" fmla="*/ 1590675 w 4191237"/>
              <a:gd name="connsiteY12" fmla="*/ 2901950 h 4416425"/>
              <a:gd name="connsiteX13" fmla="*/ 1825379 w 4191237"/>
              <a:gd name="connsiteY13" fmla="*/ 2203451 h 4416425"/>
              <a:gd name="connsiteX14" fmla="*/ 1647579 w 4191237"/>
              <a:gd name="connsiteY14" fmla="*/ 1739901 h 4416425"/>
              <a:gd name="connsiteX15" fmla="*/ 1355479 w 4191237"/>
              <a:gd name="connsiteY15" fmla="*/ 1460501 h 4416425"/>
              <a:gd name="connsiteX16" fmla="*/ 1041400 w 4191237"/>
              <a:gd name="connsiteY16" fmla="*/ 574675 h 441642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571824 w 3172386"/>
              <a:gd name="connsiteY12" fmla="*/ 2901950 h 4575175"/>
              <a:gd name="connsiteX13" fmla="*/ 806528 w 3172386"/>
              <a:gd name="connsiteY13" fmla="*/ 2203451 h 4575175"/>
              <a:gd name="connsiteX14" fmla="*/ 628728 w 3172386"/>
              <a:gd name="connsiteY14" fmla="*/ 1739901 h 4575175"/>
              <a:gd name="connsiteX15" fmla="*/ 336628 w 3172386"/>
              <a:gd name="connsiteY15" fmla="*/ 1460501 h 4575175"/>
              <a:gd name="connsiteX16" fmla="*/ 22549 w 3172386"/>
              <a:gd name="connsiteY16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571824 w 3172386"/>
              <a:gd name="connsiteY12" fmla="*/ 2901950 h 4575175"/>
              <a:gd name="connsiteX13" fmla="*/ 806528 w 3172386"/>
              <a:gd name="connsiteY13" fmla="*/ 2203451 h 4575175"/>
              <a:gd name="connsiteX14" fmla="*/ 628728 w 3172386"/>
              <a:gd name="connsiteY14" fmla="*/ 1739901 h 4575175"/>
              <a:gd name="connsiteX15" fmla="*/ 336628 w 3172386"/>
              <a:gd name="connsiteY15" fmla="*/ 1460501 h 4575175"/>
              <a:gd name="connsiteX16" fmla="*/ 22549 w 3172386"/>
              <a:gd name="connsiteY16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571824 w 3172386"/>
              <a:gd name="connsiteY12" fmla="*/ 2901950 h 4575175"/>
              <a:gd name="connsiteX13" fmla="*/ 806528 w 3172386"/>
              <a:gd name="connsiteY13" fmla="*/ 2203451 h 4575175"/>
              <a:gd name="connsiteX14" fmla="*/ 628728 w 3172386"/>
              <a:gd name="connsiteY14" fmla="*/ 1739901 h 4575175"/>
              <a:gd name="connsiteX15" fmla="*/ 336628 w 3172386"/>
              <a:gd name="connsiteY15" fmla="*/ 1460501 h 4575175"/>
              <a:gd name="connsiteX16" fmla="*/ 22549 w 3172386"/>
              <a:gd name="connsiteY16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838278 w 3172386"/>
              <a:gd name="connsiteY12" fmla="*/ 4184651 h 4575175"/>
              <a:gd name="connsiteX13" fmla="*/ 571824 w 3172386"/>
              <a:gd name="connsiteY13" fmla="*/ 2901950 h 4575175"/>
              <a:gd name="connsiteX14" fmla="*/ 806528 w 3172386"/>
              <a:gd name="connsiteY14" fmla="*/ 2203451 h 4575175"/>
              <a:gd name="connsiteX15" fmla="*/ 628728 w 3172386"/>
              <a:gd name="connsiteY15" fmla="*/ 1739901 h 4575175"/>
              <a:gd name="connsiteX16" fmla="*/ 336628 w 3172386"/>
              <a:gd name="connsiteY16" fmla="*/ 1460501 h 4575175"/>
              <a:gd name="connsiteX17" fmla="*/ 22549 w 3172386"/>
              <a:gd name="connsiteY17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571824 w 3172386"/>
              <a:gd name="connsiteY13" fmla="*/ 2901950 h 4575175"/>
              <a:gd name="connsiteX14" fmla="*/ 806528 w 3172386"/>
              <a:gd name="connsiteY14" fmla="*/ 2203451 h 4575175"/>
              <a:gd name="connsiteX15" fmla="*/ 628728 w 3172386"/>
              <a:gd name="connsiteY15" fmla="*/ 1739901 h 4575175"/>
              <a:gd name="connsiteX16" fmla="*/ 336628 w 3172386"/>
              <a:gd name="connsiteY16" fmla="*/ 1460501 h 4575175"/>
              <a:gd name="connsiteX17" fmla="*/ 22549 w 3172386"/>
              <a:gd name="connsiteY17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571824 w 3172386"/>
              <a:gd name="connsiteY13" fmla="*/ 2901950 h 4575175"/>
              <a:gd name="connsiteX14" fmla="*/ 806528 w 3172386"/>
              <a:gd name="connsiteY14" fmla="*/ 2203451 h 4575175"/>
              <a:gd name="connsiteX15" fmla="*/ 628728 w 3172386"/>
              <a:gd name="connsiteY15" fmla="*/ 1739901 h 4575175"/>
              <a:gd name="connsiteX16" fmla="*/ 336628 w 3172386"/>
              <a:gd name="connsiteY16" fmla="*/ 1460501 h 4575175"/>
              <a:gd name="connsiteX17" fmla="*/ 22549 w 3172386"/>
              <a:gd name="connsiteY17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571824 w 3172386"/>
              <a:gd name="connsiteY13" fmla="*/ 2901950 h 4575175"/>
              <a:gd name="connsiteX14" fmla="*/ 806528 w 3172386"/>
              <a:gd name="connsiteY14" fmla="*/ 2203451 h 4575175"/>
              <a:gd name="connsiteX15" fmla="*/ 628728 w 3172386"/>
              <a:gd name="connsiteY15" fmla="*/ 1739901 h 4575175"/>
              <a:gd name="connsiteX16" fmla="*/ 336628 w 3172386"/>
              <a:gd name="connsiteY16" fmla="*/ 1460501 h 4575175"/>
              <a:gd name="connsiteX17" fmla="*/ 22549 w 3172386"/>
              <a:gd name="connsiteY17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393778 w 3172386"/>
              <a:gd name="connsiteY13" fmla="*/ 3854451 h 4575175"/>
              <a:gd name="connsiteX14" fmla="*/ 571824 w 3172386"/>
              <a:gd name="connsiteY14" fmla="*/ 2901950 h 4575175"/>
              <a:gd name="connsiteX15" fmla="*/ 806528 w 3172386"/>
              <a:gd name="connsiteY15" fmla="*/ 2203451 h 4575175"/>
              <a:gd name="connsiteX16" fmla="*/ 628728 w 3172386"/>
              <a:gd name="connsiteY16" fmla="*/ 1739901 h 4575175"/>
              <a:gd name="connsiteX17" fmla="*/ 336628 w 3172386"/>
              <a:gd name="connsiteY17" fmla="*/ 1460501 h 4575175"/>
              <a:gd name="connsiteX18" fmla="*/ 22549 w 3172386"/>
              <a:gd name="connsiteY18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571824 w 3172386"/>
              <a:gd name="connsiteY14" fmla="*/ 2901950 h 4575175"/>
              <a:gd name="connsiteX15" fmla="*/ 806528 w 3172386"/>
              <a:gd name="connsiteY15" fmla="*/ 2203451 h 4575175"/>
              <a:gd name="connsiteX16" fmla="*/ 628728 w 3172386"/>
              <a:gd name="connsiteY16" fmla="*/ 1739901 h 4575175"/>
              <a:gd name="connsiteX17" fmla="*/ 336628 w 3172386"/>
              <a:gd name="connsiteY17" fmla="*/ 1460501 h 4575175"/>
              <a:gd name="connsiteX18" fmla="*/ 22549 w 3172386"/>
              <a:gd name="connsiteY18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571824 w 3172386"/>
              <a:gd name="connsiteY14" fmla="*/ 2901950 h 4575175"/>
              <a:gd name="connsiteX15" fmla="*/ 806528 w 3172386"/>
              <a:gd name="connsiteY15" fmla="*/ 2203451 h 4575175"/>
              <a:gd name="connsiteX16" fmla="*/ 628728 w 3172386"/>
              <a:gd name="connsiteY16" fmla="*/ 1739901 h 4575175"/>
              <a:gd name="connsiteX17" fmla="*/ 336628 w 3172386"/>
              <a:gd name="connsiteY17" fmla="*/ 1460501 h 4575175"/>
              <a:gd name="connsiteX18" fmla="*/ 22549 w 3172386"/>
              <a:gd name="connsiteY18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571824 w 3172386"/>
              <a:gd name="connsiteY14" fmla="*/ 2901950 h 4575175"/>
              <a:gd name="connsiteX15" fmla="*/ 806528 w 3172386"/>
              <a:gd name="connsiteY15" fmla="*/ 2203451 h 4575175"/>
              <a:gd name="connsiteX16" fmla="*/ 628728 w 3172386"/>
              <a:gd name="connsiteY16" fmla="*/ 1739901 h 4575175"/>
              <a:gd name="connsiteX17" fmla="*/ 336628 w 3172386"/>
              <a:gd name="connsiteY17" fmla="*/ 1460501 h 4575175"/>
              <a:gd name="connsiteX18" fmla="*/ 22549 w 3172386"/>
              <a:gd name="connsiteY18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996 w 3163824"/>
              <a:gd name="connsiteY0" fmla="*/ 633232 h 4575175"/>
              <a:gd name="connsiteX1" fmla="*/ 334416 w 3163824"/>
              <a:gd name="connsiteY1" fmla="*/ 190501 h 4575175"/>
              <a:gd name="connsiteX2" fmla="*/ 861466 w 3163824"/>
              <a:gd name="connsiteY2" fmla="*/ 0 h 4575175"/>
              <a:gd name="connsiteX3" fmla="*/ 1198262 w 3163824"/>
              <a:gd name="connsiteY3" fmla="*/ 47625 h 4575175"/>
              <a:gd name="connsiteX4" fmla="*/ 1547266 w 3163824"/>
              <a:gd name="connsiteY4" fmla="*/ 279401 h 4575175"/>
              <a:gd name="connsiteX5" fmla="*/ 2334666 w 3163824"/>
              <a:gd name="connsiteY5" fmla="*/ 1066800 h 4575175"/>
              <a:gd name="connsiteX6" fmla="*/ 2925217 w 3163824"/>
              <a:gd name="connsiteY6" fmla="*/ 1663701 h 4575175"/>
              <a:gd name="connsiteX7" fmla="*/ 3160167 w 3163824"/>
              <a:gd name="connsiteY7" fmla="*/ 2279651 h 4575175"/>
              <a:gd name="connsiteX8" fmla="*/ 2950617 w 3163824"/>
              <a:gd name="connsiteY8" fmla="*/ 2882901 h 4575175"/>
              <a:gd name="connsiteX9" fmla="*/ 2414287 w 3163824"/>
              <a:gd name="connsiteY9" fmla="*/ 3448050 h 4575175"/>
              <a:gd name="connsiteX10" fmla="*/ 1395112 w 3163824"/>
              <a:gd name="connsiteY10" fmla="*/ 4416425 h 4575175"/>
              <a:gd name="connsiteX11" fmla="*/ 915687 w 3163824"/>
              <a:gd name="connsiteY11" fmla="*/ 4575175 h 4575175"/>
              <a:gd name="connsiteX12" fmla="*/ 315366 w 3163824"/>
              <a:gd name="connsiteY12" fmla="*/ 4292601 h 4575175"/>
              <a:gd name="connsiteX13" fmla="*/ 67716 w 3163824"/>
              <a:gd name="connsiteY13" fmla="*/ 3822701 h 4575175"/>
              <a:gd name="connsiteX14" fmla="*/ 213766 w 3163824"/>
              <a:gd name="connsiteY14" fmla="*/ 3309938 h 4575175"/>
              <a:gd name="connsiteX15" fmla="*/ 563262 w 3163824"/>
              <a:gd name="connsiteY15" fmla="*/ 2901950 h 4575175"/>
              <a:gd name="connsiteX16" fmla="*/ 797966 w 3163824"/>
              <a:gd name="connsiteY16" fmla="*/ 2203451 h 4575175"/>
              <a:gd name="connsiteX17" fmla="*/ 620166 w 3163824"/>
              <a:gd name="connsiteY17" fmla="*/ 1739901 h 4575175"/>
              <a:gd name="connsiteX18" fmla="*/ 328066 w 3163824"/>
              <a:gd name="connsiteY18" fmla="*/ 1460501 h 4575175"/>
              <a:gd name="connsiteX19" fmla="*/ 22996 w 3163824"/>
              <a:gd name="connsiteY19" fmla="*/ 633232 h 4575175"/>
              <a:gd name="connsiteX0" fmla="*/ 22548 w 3172385"/>
              <a:gd name="connsiteY0" fmla="*/ 606206 h 4575175"/>
              <a:gd name="connsiteX1" fmla="*/ 342977 w 3172385"/>
              <a:gd name="connsiteY1" fmla="*/ 190501 h 4575175"/>
              <a:gd name="connsiteX2" fmla="*/ 870027 w 3172385"/>
              <a:gd name="connsiteY2" fmla="*/ 0 h 4575175"/>
              <a:gd name="connsiteX3" fmla="*/ 1206823 w 3172385"/>
              <a:gd name="connsiteY3" fmla="*/ 47625 h 4575175"/>
              <a:gd name="connsiteX4" fmla="*/ 1555827 w 3172385"/>
              <a:gd name="connsiteY4" fmla="*/ 279401 h 4575175"/>
              <a:gd name="connsiteX5" fmla="*/ 2343227 w 3172385"/>
              <a:gd name="connsiteY5" fmla="*/ 1066800 h 4575175"/>
              <a:gd name="connsiteX6" fmla="*/ 2933778 w 3172385"/>
              <a:gd name="connsiteY6" fmla="*/ 1663701 h 4575175"/>
              <a:gd name="connsiteX7" fmla="*/ 3168728 w 3172385"/>
              <a:gd name="connsiteY7" fmla="*/ 2279651 h 4575175"/>
              <a:gd name="connsiteX8" fmla="*/ 2959178 w 3172385"/>
              <a:gd name="connsiteY8" fmla="*/ 2882901 h 4575175"/>
              <a:gd name="connsiteX9" fmla="*/ 2422848 w 3172385"/>
              <a:gd name="connsiteY9" fmla="*/ 3448050 h 4575175"/>
              <a:gd name="connsiteX10" fmla="*/ 1403673 w 3172385"/>
              <a:gd name="connsiteY10" fmla="*/ 4416425 h 4575175"/>
              <a:gd name="connsiteX11" fmla="*/ 924248 w 3172385"/>
              <a:gd name="connsiteY11" fmla="*/ 4575175 h 4575175"/>
              <a:gd name="connsiteX12" fmla="*/ 323927 w 3172385"/>
              <a:gd name="connsiteY12" fmla="*/ 4292601 h 4575175"/>
              <a:gd name="connsiteX13" fmla="*/ 76277 w 3172385"/>
              <a:gd name="connsiteY13" fmla="*/ 3822701 h 4575175"/>
              <a:gd name="connsiteX14" fmla="*/ 222327 w 3172385"/>
              <a:gd name="connsiteY14" fmla="*/ 3309938 h 4575175"/>
              <a:gd name="connsiteX15" fmla="*/ 571823 w 3172385"/>
              <a:gd name="connsiteY15" fmla="*/ 2901950 h 4575175"/>
              <a:gd name="connsiteX16" fmla="*/ 806527 w 3172385"/>
              <a:gd name="connsiteY16" fmla="*/ 2203451 h 4575175"/>
              <a:gd name="connsiteX17" fmla="*/ 628727 w 3172385"/>
              <a:gd name="connsiteY17" fmla="*/ 1739901 h 4575175"/>
              <a:gd name="connsiteX18" fmla="*/ 336627 w 3172385"/>
              <a:gd name="connsiteY18" fmla="*/ 1460501 h 4575175"/>
              <a:gd name="connsiteX19" fmla="*/ 22548 w 3172385"/>
              <a:gd name="connsiteY19" fmla="*/ 606206 h 4575175"/>
              <a:gd name="connsiteX0" fmla="*/ 22548 w 3172385"/>
              <a:gd name="connsiteY0" fmla="*/ 606206 h 4575175"/>
              <a:gd name="connsiteX1" fmla="*/ 342977 w 3172385"/>
              <a:gd name="connsiteY1" fmla="*/ 190501 h 4575175"/>
              <a:gd name="connsiteX2" fmla="*/ 870027 w 3172385"/>
              <a:gd name="connsiteY2" fmla="*/ 0 h 4575175"/>
              <a:gd name="connsiteX3" fmla="*/ 1206823 w 3172385"/>
              <a:gd name="connsiteY3" fmla="*/ 47625 h 4575175"/>
              <a:gd name="connsiteX4" fmla="*/ 1555827 w 3172385"/>
              <a:gd name="connsiteY4" fmla="*/ 279401 h 4575175"/>
              <a:gd name="connsiteX5" fmla="*/ 2343227 w 3172385"/>
              <a:gd name="connsiteY5" fmla="*/ 1066800 h 4575175"/>
              <a:gd name="connsiteX6" fmla="*/ 2933778 w 3172385"/>
              <a:gd name="connsiteY6" fmla="*/ 1663701 h 4575175"/>
              <a:gd name="connsiteX7" fmla="*/ 3168728 w 3172385"/>
              <a:gd name="connsiteY7" fmla="*/ 2279651 h 4575175"/>
              <a:gd name="connsiteX8" fmla="*/ 2959178 w 3172385"/>
              <a:gd name="connsiteY8" fmla="*/ 2882901 h 4575175"/>
              <a:gd name="connsiteX9" fmla="*/ 2422848 w 3172385"/>
              <a:gd name="connsiteY9" fmla="*/ 3448050 h 4575175"/>
              <a:gd name="connsiteX10" fmla="*/ 1403673 w 3172385"/>
              <a:gd name="connsiteY10" fmla="*/ 4416425 h 4575175"/>
              <a:gd name="connsiteX11" fmla="*/ 924248 w 3172385"/>
              <a:gd name="connsiteY11" fmla="*/ 4575175 h 4575175"/>
              <a:gd name="connsiteX12" fmla="*/ 323927 w 3172385"/>
              <a:gd name="connsiteY12" fmla="*/ 4292601 h 4575175"/>
              <a:gd name="connsiteX13" fmla="*/ 76277 w 3172385"/>
              <a:gd name="connsiteY13" fmla="*/ 3822701 h 4575175"/>
              <a:gd name="connsiteX14" fmla="*/ 222327 w 3172385"/>
              <a:gd name="connsiteY14" fmla="*/ 3309938 h 4575175"/>
              <a:gd name="connsiteX15" fmla="*/ 571823 w 3172385"/>
              <a:gd name="connsiteY15" fmla="*/ 2901950 h 4575175"/>
              <a:gd name="connsiteX16" fmla="*/ 806527 w 3172385"/>
              <a:gd name="connsiteY16" fmla="*/ 2203451 h 4575175"/>
              <a:gd name="connsiteX17" fmla="*/ 628727 w 3172385"/>
              <a:gd name="connsiteY17" fmla="*/ 1739901 h 4575175"/>
              <a:gd name="connsiteX18" fmla="*/ 336627 w 3172385"/>
              <a:gd name="connsiteY18" fmla="*/ 1460501 h 4575175"/>
              <a:gd name="connsiteX19" fmla="*/ 22548 w 3172385"/>
              <a:gd name="connsiteY19" fmla="*/ 606206 h 4575175"/>
              <a:gd name="connsiteX0" fmla="*/ 22548 w 3172385"/>
              <a:gd name="connsiteY0" fmla="*/ 606206 h 4575175"/>
              <a:gd name="connsiteX1" fmla="*/ 342977 w 3172385"/>
              <a:gd name="connsiteY1" fmla="*/ 190501 h 4575175"/>
              <a:gd name="connsiteX2" fmla="*/ 870027 w 3172385"/>
              <a:gd name="connsiteY2" fmla="*/ 0 h 4575175"/>
              <a:gd name="connsiteX3" fmla="*/ 1206823 w 3172385"/>
              <a:gd name="connsiteY3" fmla="*/ 47625 h 4575175"/>
              <a:gd name="connsiteX4" fmla="*/ 1555827 w 3172385"/>
              <a:gd name="connsiteY4" fmla="*/ 279401 h 4575175"/>
              <a:gd name="connsiteX5" fmla="*/ 2343227 w 3172385"/>
              <a:gd name="connsiteY5" fmla="*/ 1066800 h 4575175"/>
              <a:gd name="connsiteX6" fmla="*/ 2933778 w 3172385"/>
              <a:gd name="connsiteY6" fmla="*/ 1663701 h 4575175"/>
              <a:gd name="connsiteX7" fmla="*/ 3168728 w 3172385"/>
              <a:gd name="connsiteY7" fmla="*/ 2279651 h 4575175"/>
              <a:gd name="connsiteX8" fmla="*/ 2959178 w 3172385"/>
              <a:gd name="connsiteY8" fmla="*/ 2882901 h 4575175"/>
              <a:gd name="connsiteX9" fmla="*/ 2422848 w 3172385"/>
              <a:gd name="connsiteY9" fmla="*/ 3448050 h 4575175"/>
              <a:gd name="connsiteX10" fmla="*/ 1403673 w 3172385"/>
              <a:gd name="connsiteY10" fmla="*/ 4416425 h 4575175"/>
              <a:gd name="connsiteX11" fmla="*/ 924248 w 3172385"/>
              <a:gd name="connsiteY11" fmla="*/ 4575175 h 4575175"/>
              <a:gd name="connsiteX12" fmla="*/ 323927 w 3172385"/>
              <a:gd name="connsiteY12" fmla="*/ 4292601 h 4575175"/>
              <a:gd name="connsiteX13" fmla="*/ 76277 w 3172385"/>
              <a:gd name="connsiteY13" fmla="*/ 3822701 h 4575175"/>
              <a:gd name="connsiteX14" fmla="*/ 222327 w 3172385"/>
              <a:gd name="connsiteY14" fmla="*/ 3309938 h 4575175"/>
              <a:gd name="connsiteX15" fmla="*/ 571823 w 3172385"/>
              <a:gd name="connsiteY15" fmla="*/ 2901950 h 4575175"/>
              <a:gd name="connsiteX16" fmla="*/ 806527 w 3172385"/>
              <a:gd name="connsiteY16" fmla="*/ 2203451 h 4575175"/>
              <a:gd name="connsiteX17" fmla="*/ 597196 w 3172385"/>
              <a:gd name="connsiteY17" fmla="*/ 1793954 h 4575175"/>
              <a:gd name="connsiteX18" fmla="*/ 336627 w 3172385"/>
              <a:gd name="connsiteY18" fmla="*/ 1460501 h 4575175"/>
              <a:gd name="connsiteX19" fmla="*/ 22548 w 3172385"/>
              <a:gd name="connsiteY19" fmla="*/ 606206 h 4575175"/>
              <a:gd name="connsiteX0" fmla="*/ 22548 w 3172385"/>
              <a:gd name="connsiteY0" fmla="*/ 606206 h 4575175"/>
              <a:gd name="connsiteX1" fmla="*/ 342977 w 3172385"/>
              <a:gd name="connsiteY1" fmla="*/ 190501 h 4575175"/>
              <a:gd name="connsiteX2" fmla="*/ 870027 w 3172385"/>
              <a:gd name="connsiteY2" fmla="*/ 0 h 4575175"/>
              <a:gd name="connsiteX3" fmla="*/ 1206823 w 3172385"/>
              <a:gd name="connsiteY3" fmla="*/ 47625 h 4575175"/>
              <a:gd name="connsiteX4" fmla="*/ 1555827 w 3172385"/>
              <a:gd name="connsiteY4" fmla="*/ 279401 h 4575175"/>
              <a:gd name="connsiteX5" fmla="*/ 2343227 w 3172385"/>
              <a:gd name="connsiteY5" fmla="*/ 1066800 h 4575175"/>
              <a:gd name="connsiteX6" fmla="*/ 2933778 w 3172385"/>
              <a:gd name="connsiteY6" fmla="*/ 1663701 h 4575175"/>
              <a:gd name="connsiteX7" fmla="*/ 3168728 w 3172385"/>
              <a:gd name="connsiteY7" fmla="*/ 2279651 h 4575175"/>
              <a:gd name="connsiteX8" fmla="*/ 2959178 w 3172385"/>
              <a:gd name="connsiteY8" fmla="*/ 2882901 h 4575175"/>
              <a:gd name="connsiteX9" fmla="*/ 2422848 w 3172385"/>
              <a:gd name="connsiteY9" fmla="*/ 3448050 h 4575175"/>
              <a:gd name="connsiteX10" fmla="*/ 1403673 w 3172385"/>
              <a:gd name="connsiteY10" fmla="*/ 4416425 h 4575175"/>
              <a:gd name="connsiteX11" fmla="*/ 924248 w 3172385"/>
              <a:gd name="connsiteY11" fmla="*/ 4575175 h 4575175"/>
              <a:gd name="connsiteX12" fmla="*/ 323927 w 3172385"/>
              <a:gd name="connsiteY12" fmla="*/ 4292601 h 4575175"/>
              <a:gd name="connsiteX13" fmla="*/ 76277 w 3172385"/>
              <a:gd name="connsiteY13" fmla="*/ 3822701 h 4575175"/>
              <a:gd name="connsiteX14" fmla="*/ 222327 w 3172385"/>
              <a:gd name="connsiteY14" fmla="*/ 3309938 h 4575175"/>
              <a:gd name="connsiteX15" fmla="*/ 571823 w 3172385"/>
              <a:gd name="connsiteY15" fmla="*/ 2901950 h 4575175"/>
              <a:gd name="connsiteX16" fmla="*/ 806527 w 3172385"/>
              <a:gd name="connsiteY16" fmla="*/ 2203451 h 4575175"/>
              <a:gd name="connsiteX17" fmla="*/ 633231 w 3172385"/>
              <a:gd name="connsiteY17" fmla="*/ 1753414 h 4575175"/>
              <a:gd name="connsiteX18" fmla="*/ 336627 w 3172385"/>
              <a:gd name="connsiteY18" fmla="*/ 1460501 h 4575175"/>
              <a:gd name="connsiteX19" fmla="*/ 22548 w 3172385"/>
              <a:gd name="connsiteY19" fmla="*/ 606206 h 4575175"/>
              <a:gd name="connsiteX0" fmla="*/ 22548 w 3172385"/>
              <a:gd name="connsiteY0" fmla="*/ 606206 h 4575175"/>
              <a:gd name="connsiteX1" fmla="*/ 342977 w 3172385"/>
              <a:gd name="connsiteY1" fmla="*/ 190501 h 4575175"/>
              <a:gd name="connsiteX2" fmla="*/ 870027 w 3172385"/>
              <a:gd name="connsiteY2" fmla="*/ 0 h 4575175"/>
              <a:gd name="connsiteX3" fmla="*/ 1206823 w 3172385"/>
              <a:gd name="connsiteY3" fmla="*/ 47625 h 4575175"/>
              <a:gd name="connsiteX4" fmla="*/ 1555827 w 3172385"/>
              <a:gd name="connsiteY4" fmla="*/ 279401 h 4575175"/>
              <a:gd name="connsiteX5" fmla="*/ 2343227 w 3172385"/>
              <a:gd name="connsiteY5" fmla="*/ 1066800 h 4575175"/>
              <a:gd name="connsiteX6" fmla="*/ 2933778 w 3172385"/>
              <a:gd name="connsiteY6" fmla="*/ 1663701 h 4575175"/>
              <a:gd name="connsiteX7" fmla="*/ 3168728 w 3172385"/>
              <a:gd name="connsiteY7" fmla="*/ 2279651 h 4575175"/>
              <a:gd name="connsiteX8" fmla="*/ 2959178 w 3172385"/>
              <a:gd name="connsiteY8" fmla="*/ 2882901 h 4575175"/>
              <a:gd name="connsiteX9" fmla="*/ 2422848 w 3172385"/>
              <a:gd name="connsiteY9" fmla="*/ 3448050 h 4575175"/>
              <a:gd name="connsiteX10" fmla="*/ 1403673 w 3172385"/>
              <a:gd name="connsiteY10" fmla="*/ 4416425 h 4575175"/>
              <a:gd name="connsiteX11" fmla="*/ 924248 w 3172385"/>
              <a:gd name="connsiteY11" fmla="*/ 4575175 h 4575175"/>
              <a:gd name="connsiteX12" fmla="*/ 323927 w 3172385"/>
              <a:gd name="connsiteY12" fmla="*/ 4292601 h 4575175"/>
              <a:gd name="connsiteX13" fmla="*/ 76277 w 3172385"/>
              <a:gd name="connsiteY13" fmla="*/ 3822701 h 4575175"/>
              <a:gd name="connsiteX14" fmla="*/ 222327 w 3172385"/>
              <a:gd name="connsiteY14" fmla="*/ 3309938 h 4575175"/>
              <a:gd name="connsiteX15" fmla="*/ 571823 w 3172385"/>
              <a:gd name="connsiteY15" fmla="*/ 2901950 h 4575175"/>
              <a:gd name="connsiteX16" fmla="*/ 806527 w 3172385"/>
              <a:gd name="connsiteY16" fmla="*/ 2203451 h 4575175"/>
              <a:gd name="connsiteX17" fmla="*/ 633231 w 3172385"/>
              <a:gd name="connsiteY17" fmla="*/ 1753414 h 4575175"/>
              <a:gd name="connsiteX18" fmla="*/ 336627 w 3172385"/>
              <a:gd name="connsiteY18" fmla="*/ 1460501 h 4575175"/>
              <a:gd name="connsiteX19" fmla="*/ 22548 w 3172385"/>
              <a:gd name="connsiteY19" fmla="*/ 606206 h 4575175"/>
              <a:gd name="connsiteX0" fmla="*/ 22332 w 3172169"/>
              <a:gd name="connsiteY0" fmla="*/ 606206 h 4575175"/>
              <a:gd name="connsiteX1" fmla="*/ 342761 w 3172169"/>
              <a:gd name="connsiteY1" fmla="*/ 190501 h 4575175"/>
              <a:gd name="connsiteX2" fmla="*/ 869811 w 3172169"/>
              <a:gd name="connsiteY2" fmla="*/ 0 h 4575175"/>
              <a:gd name="connsiteX3" fmla="*/ 1206607 w 3172169"/>
              <a:gd name="connsiteY3" fmla="*/ 47625 h 4575175"/>
              <a:gd name="connsiteX4" fmla="*/ 1555611 w 3172169"/>
              <a:gd name="connsiteY4" fmla="*/ 279401 h 4575175"/>
              <a:gd name="connsiteX5" fmla="*/ 2343011 w 3172169"/>
              <a:gd name="connsiteY5" fmla="*/ 1066800 h 4575175"/>
              <a:gd name="connsiteX6" fmla="*/ 2933562 w 3172169"/>
              <a:gd name="connsiteY6" fmla="*/ 1663701 h 4575175"/>
              <a:gd name="connsiteX7" fmla="*/ 3168512 w 3172169"/>
              <a:gd name="connsiteY7" fmla="*/ 2279651 h 4575175"/>
              <a:gd name="connsiteX8" fmla="*/ 2958962 w 3172169"/>
              <a:gd name="connsiteY8" fmla="*/ 2882901 h 4575175"/>
              <a:gd name="connsiteX9" fmla="*/ 2422632 w 3172169"/>
              <a:gd name="connsiteY9" fmla="*/ 3448050 h 4575175"/>
              <a:gd name="connsiteX10" fmla="*/ 1403457 w 3172169"/>
              <a:gd name="connsiteY10" fmla="*/ 4416425 h 4575175"/>
              <a:gd name="connsiteX11" fmla="*/ 924032 w 3172169"/>
              <a:gd name="connsiteY11" fmla="*/ 4575175 h 4575175"/>
              <a:gd name="connsiteX12" fmla="*/ 323711 w 3172169"/>
              <a:gd name="connsiteY12" fmla="*/ 4292601 h 4575175"/>
              <a:gd name="connsiteX13" fmla="*/ 76061 w 3172169"/>
              <a:gd name="connsiteY13" fmla="*/ 3822701 h 4575175"/>
              <a:gd name="connsiteX14" fmla="*/ 222111 w 3172169"/>
              <a:gd name="connsiteY14" fmla="*/ 3309938 h 4575175"/>
              <a:gd name="connsiteX15" fmla="*/ 571607 w 3172169"/>
              <a:gd name="connsiteY15" fmla="*/ 2901950 h 4575175"/>
              <a:gd name="connsiteX16" fmla="*/ 806311 w 3172169"/>
              <a:gd name="connsiteY16" fmla="*/ 2203451 h 4575175"/>
              <a:gd name="connsiteX17" fmla="*/ 633015 w 3172169"/>
              <a:gd name="connsiteY17" fmla="*/ 1753414 h 4575175"/>
              <a:gd name="connsiteX18" fmla="*/ 340915 w 3172169"/>
              <a:gd name="connsiteY18" fmla="*/ 1469510 h 4575175"/>
              <a:gd name="connsiteX19" fmla="*/ 22332 w 3172169"/>
              <a:gd name="connsiteY19" fmla="*/ 606206 h 4575175"/>
              <a:gd name="connsiteX0" fmla="*/ 22747 w 3172584"/>
              <a:gd name="connsiteY0" fmla="*/ 606206 h 4575175"/>
              <a:gd name="connsiteX1" fmla="*/ 343176 w 3172584"/>
              <a:gd name="connsiteY1" fmla="*/ 190501 h 4575175"/>
              <a:gd name="connsiteX2" fmla="*/ 870226 w 3172584"/>
              <a:gd name="connsiteY2" fmla="*/ 0 h 4575175"/>
              <a:gd name="connsiteX3" fmla="*/ 1207022 w 3172584"/>
              <a:gd name="connsiteY3" fmla="*/ 47625 h 4575175"/>
              <a:gd name="connsiteX4" fmla="*/ 1556026 w 3172584"/>
              <a:gd name="connsiteY4" fmla="*/ 279401 h 4575175"/>
              <a:gd name="connsiteX5" fmla="*/ 2343426 w 3172584"/>
              <a:gd name="connsiteY5" fmla="*/ 1066800 h 4575175"/>
              <a:gd name="connsiteX6" fmla="*/ 2933977 w 3172584"/>
              <a:gd name="connsiteY6" fmla="*/ 1663701 h 4575175"/>
              <a:gd name="connsiteX7" fmla="*/ 3168927 w 3172584"/>
              <a:gd name="connsiteY7" fmla="*/ 2279651 h 4575175"/>
              <a:gd name="connsiteX8" fmla="*/ 2959377 w 3172584"/>
              <a:gd name="connsiteY8" fmla="*/ 2882901 h 4575175"/>
              <a:gd name="connsiteX9" fmla="*/ 2423047 w 3172584"/>
              <a:gd name="connsiteY9" fmla="*/ 3448050 h 4575175"/>
              <a:gd name="connsiteX10" fmla="*/ 1403872 w 3172584"/>
              <a:gd name="connsiteY10" fmla="*/ 4416425 h 4575175"/>
              <a:gd name="connsiteX11" fmla="*/ 924447 w 3172584"/>
              <a:gd name="connsiteY11" fmla="*/ 4575175 h 4575175"/>
              <a:gd name="connsiteX12" fmla="*/ 324126 w 3172584"/>
              <a:gd name="connsiteY12" fmla="*/ 4292601 h 4575175"/>
              <a:gd name="connsiteX13" fmla="*/ 76476 w 3172584"/>
              <a:gd name="connsiteY13" fmla="*/ 3822701 h 4575175"/>
              <a:gd name="connsiteX14" fmla="*/ 222526 w 3172584"/>
              <a:gd name="connsiteY14" fmla="*/ 3309938 h 4575175"/>
              <a:gd name="connsiteX15" fmla="*/ 572022 w 3172584"/>
              <a:gd name="connsiteY15" fmla="*/ 2901950 h 4575175"/>
              <a:gd name="connsiteX16" fmla="*/ 806726 w 3172584"/>
              <a:gd name="connsiteY16" fmla="*/ 2203451 h 4575175"/>
              <a:gd name="connsiteX17" fmla="*/ 633430 w 3172584"/>
              <a:gd name="connsiteY17" fmla="*/ 1753414 h 4575175"/>
              <a:gd name="connsiteX18" fmla="*/ 341330 w 3172584"/>
              <a:gd name="connsiteY18" fmla="*/ 1469510 h 4575175"/>
              <a:gd name="connsiteX19" fmla="*/ 22747 w 3172584"/>
              <a:gd name="connsiteY19" fmla="*/ 606206 h 4575175"/>
              <a:gd name="connsiteX0" fmla="*/ 21541 w 3171378"/>
              <a:gd name="connsiteY0" fmla="*/ 606206 h 4575175"/>
              <a:gd name="connsiteX1" fmla="*/ 341970 w 3171378"/>
              <a:gd name="connsiteY1" fmla="*/ 190501 h 4575175"/>
              <a:gd name="connsiteX2" fmla="*/ 869020 w 3171378"/>
              <a:gd name="connsiteY2" fmla="*/ 0 h 4575175"/>
              <a:gd name="connsiteX3" fmla="*/ 1205816 w 3171378"/>
              <a:gd name="connsiteY3" fmla="*/ 47625 h 4575175"/>
              <a:gd name="connsiteX4" fmla="*/ 1554820 w 3171378"/>
              <a:gd name="connsiteY4" fmla="*/ 279401 h 4575175"/>
              <a:gd name="connsiteX5" fmla="*/ 2342220 w 3171378"/>
              <a:gd name="connsiteY5" fmla="*/ 1066800 h 4575175"/>
              <a:gd name="connsiteX6" fmla="*/ 2932771 w 3171378"/>
              <a:gd name="connsiteY6" fmla="*/ 1663701 h 4575175"/>
              <a:gd name="connsiteX7" fmla="*/ 3167721 w 3171378"/>
              <a:gd name="connsiteY7" fmla="*/ 2279651 h 4575175"/>
              <a:gd name="connsiteX8" fmla="*/ 2958171 w 3171378"/>
              <a:gd name="connsiteY8" fmla="*/ 2882901 h 4575175"/>
              <a:gd name="connsiteX9" fmla="*/ 2421841 w 3171378"/>
              <a:gd name="connsiteY9" fmla="*/ 3448050 h 4575175"/>
              <a:gd name="connsiteX10" fmla="*/ 1402666 w 3171378"/>
              <a:gd name="connsiteY10" fmla="*/ 4416425 h 4575175"/>
              <a:gd name="connsiteX11" fmla="*/ 923241 w 3171378"/>
              <a:gd name="connsiteY11" fmla="*/ 4575175 h 4575175"/>
              <a:gd name="connsiteX12" fmla="*/ 322920 w 3171378"/>
              <a:gd name="connsiteY12" fmla="*/ 4292601 h 4575175"/>
              <a:gd name="connsiteX13" fmla="*/ 75270 w 3171378"/>
              <a:gd name="connsiteY13" fmla="*/ 3822701 h 4575175"/>
              <a:gd name="connsiteX14" fmla="*/ 221320 w 3171378"/>
              <a:gd name="connsiteY14" fmla="*/ 3309938 h 4575175"/>
              <a:gd name="connsiteX15" fmla="*/ 570816 w 3171378"/>
              <a:gd name="connsiteY15" fmla="*/ 2901950 h 4575175"/>
              <a:gd name="connsiteX16" fmla="*/ 805520 w 3171378"/>
              <a:gd name="connsiteY16" fmla="*/ 2203451 h 4575175"/>
              <a:gd name="connsiteX17" fmla="*/ 632224 w 3171378"/>
              <a:gd name="connsiteY17" fmla="*/ 1753414 h 4575175"/>
              <a:gd name="connsiteX18" fmla="*/ 340124 w 3171378"/>
              <a:gd name="connsiteY18" fmla="*/ 1469510 h 4575175"/>
              <a:gd name="connsiteX19" fmla="*/ 21541 w 3171378"/>
              <a:gd name="connsiteY19" fmla="*/ 606206 h 4575175"/>
              <a:gd name="connsiteX0" fmla="*/ 7707 w 3157544"/>
              <a:gd name="connsiteY0" fmla="*/ 606206 h 4575175"/>
              <a:gd name="connsiteX1" fmla="*/ 328136 w 3157544"/>
              <a:gd name="connsiteY1" fmla="*/ 190501 h 4575175"/>
              <a:gd name="connsiteX2" fmla="*/ 855186 w 3157544"/>
              <a:gd name="connsiteY2" fmla="*/ 0 h 4575175"/>
              <a:gd name="connsiteX3" fmla="*/ 1191982 w 3157544"/>
              <a:gd name="connsiteY3" fmla="*/ 47625 h 4575175"/>
              <a:gd name="connsiteX4" fmla="*/ 1540986 w 3157544"/>
              <a:gd name="connsiteY4" fmla="*/ 279401 h 4575175"/>
              <a:gd name="connsiteX5" fmla="*/ 2328386 w 3157544"/>
              <a:gd name="connsiteY5" fmla="*/ 1066800 h 4575175"/>
              <a:gd name="connsiteX6" fmla="*/ 2918937 w 3157544"/>
              <a:gd name="connsiteY6" fmla="*/ 1663701 h 4575175"/>
              <a:gd name="connsiteX7" fmla="*/ 3153887 w 3157544"/>
              <a:gd name="connsiteY7" fmla="*/ 2279651 h 4575175"/>
              <a:gd name="connsiteX8" fmla="*/ 2944337 w 3157544"/>
              <a:gd name="connsiteY8" fmla="*/ 2882901 h 4575175"/>
              <a:gd name="connsiteX9" fmla="*/ 2408007 w 3157544"/>
              <a:gd name="connsiteY9" fmla="*/ 3448050 h 4575175"/>
              <a:gd name="connsiteX10" fmla="*/ 1388832 w 3157544"/>
              <a:gd name="connsiteY10" fmla="*/ 4416425 h 4575175"/>
              <a:gd name="connsiteX11" fmla="*/ 909407 w 3157544"/>
              <a:gd name="connsiteY11" fmla="*/ 4575175 h 4575175"/>
              <a:gd name="connsiteX12" fmla="*/ 309086 w 3157544"/>
              <a:gd name="connsiteY12" fmla="*/ 4292601 h 4575175"/>
              <a:gd name="connsiteX13" fmla="*/ 61436 w 3157544"/>
              <a:gd name="connsiteY13" fmla="*/ 3822701 h 4575175"/>
              <a:gd name="connsiteX14" fmla="*/ 207486 w 3157544"/>
              <a:gd name="connsiteY14" fmla="*/ 3309938 h 4575175"/>
              <a:gd name="connsiteX15" fmla="*/ 556982 w 3157544"/>
              <a:gd name="connsiteY15" fmla="*/ 2901950 h 4575175"/>
              <a:gd name="connsiteX16" fmla="*/ 791686 w 3157544"/>
              <a:gd name="connsiteY16" fmla="*/ 2203451 h 4575175"/>
              <a:gd name="connsiteX17" fmla="*/ 618390 w 3157544"/>
              <a:gd name="connsiteY17" fmla="*/ 1753414 h 4575175"/>
              <a:gd name="connsiteX18" fmla="*/ 326290 w 3157544"/>
              <a:gd name="connsiteY18" fmla="*/ 1469510 h 4575175"/>
              <a:gd name="connsiteX19" fmla="*/ 118243 w 3157544"/>
              <a:gd name="connsiteY19" fmla="*/ 1272964 h 4575175"/>
              <a:gd name="connsiteX20" fmla="*/ 7707 w 3157544"/>
              <a:gd name="connsiteY20" fmla="*/ 606206 h 4575175"/>
              <a:gd name="connsiteX0" fmla="*/ 7180 w 3157017"/>
              <a:gd name="connsiteY0" fmla="*/ 606206 h 4575175"/>
              <a:gd name="connsiteX1" fmla="*/ 327609 w 3157017"/>
              <a:gd name="connsiteY1" fmla="*/ 190501 h 4575175"/>
              <a:gd name="connsiteX2" fmla="*/ 854659 w 3157017"/>
              <a:gd name="connsiteY2" fmla="*/ 0 h 4575175"/>
              <a:gd name="connsiteX3" fmla="*/ 1191455 w 3157017"/>
              <a:gd name="connsiteY3" fmla="*/ 47625 h 4575175"/>
              <a:gd name="connsiteX4" fmla="*/ 1540459 w 3157017"/>
              <a:gd name="connsiteY4" fmla="*/ 279401 h 4575175"/>
              <a:gd name="connsiteX5" fmla="*/ 2327859 w 3157017"/>
              <a:gd name="connsiteY5" fmla="*/ 1066800 h 4575175"/>
              <a:gd name="connsiteX6" fmla="*/ 2918410 w 3157017"/>
              <a:gd name="connsiteY6" fmla="*/ 1663701 h 4575175"/>
              <a:gd name="connsiteX7" fmla="*/ 3153360 w 3157017"/>
              <a:gd name="connsiteY7" fmla="*/ 2279651 h 4575175"/>
              <a:gd name="connsiteX8" fmla="*/ 2943810 w 3157017"/>
              <a:gd name="connsiteY8" fmla="*/ 2882901 h 4575175"/>
              <a:gd name="connsiteX9" fmla="*/ 2407480 w 3157017"/>
              <a:gd name="connsiteY9" fmla="*/ 3448050 h 4575175"/>
              <a:gd name="connsiteX10" fmla="*/ 1388305 w 3157017"/>
              <a:gd name="connsiteY10" fmla="*/ 4416425 h 4575175"/>
              <a:gd name="connsiteX11" fmla="*/ 908880 w 3157017"/>
              <a:gd name="connsiteY11" fmla="*/ 4575175 h 4575175"/>
              <a:gd name="connsiteX12" fmla="*/ 308559 w 3157017"/>
              <a:gd name="connsiteY12" fmla="*/ 4292601 h 4575175"/>
              <a:gd name="connsiteX13" fmla="*/ 60909 w 3157017"/>
              <a:gd name="connsiteY13" fmla="*/ 3822701 h 4575175"/>
              <a:gd name="connsiteX14" fmla="*/ 206959 w 3157017"/>
              <a:gd name="connsiteY14" fmla="*/ 3309938 h 4575175"/>
              <a:gd name="connsiteX15" fmla="*/ 556455 w 3157017"/>
              <a:gd name="connsiteY15" fmla="*/ 2901950 h 4575175"/>
              <a:gd name="connsiteX16" fmla="*/ 791159 w 3157017"/>
              <a:gd name="connsiteY16" fmla="*/ 2203451 h 4575175"/>
              <a:gd name="connsiteX17" fmla="*/ 617863 w 3157017"/>
              <a:gd name="connsiteY17" fmla="*/ 1753414 h 4575175"/>
              <a:gd name="connsiteX18" fmla="*/ 325763 w 3157017"/>
              <a:gd name="connsiteY18" fmla="*/ 1469510 h 4575175"/>
              <a:gd name="connsiteX19" fmla="*/ 126725 w 3157017"/>
              <a:gd name="connsiteY19" fmla="*/ 1245938 h 4575175"/>
              <a:gd name="connsiteX20" fmla="*/ 7180 w 3157017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808782 w 3174640"/>
              <a:gd name="connsiteY16" fmla="*/ 2203451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808782 w 3174640"/>
              <a:gd name="connsiteY16" fmla="*/ 2203451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99773 w 3174640"/>
              <a:gd name="connsiteY16" fmla="*/ 2221468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99773 w 3174640"/>
              <a:gd name="connsiteY16" fmla="*/ 2221468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99773 w 3174640"/>
              <a:gd name="connsiteY16" fmla="*/ 2221468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99773 w 3174640"/>
              <a:gd name="connsiteY16" fmla="*/ 2221468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99773 w 3174640"/>
              <a:gd name="connsiteY16" fmla="*/ 2221468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20915 w 3174640"/>
              <a:gd name="connsiteY16" fmla="*/ 2583755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23945 w 3174640"/>
              <a:gd name="connsiteY10" fmla="*/ 4407416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23945 w 3174640"/>
              <a:gd name="connsiteY10" fmla="*/ 4407416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23945 w 3174640"/>
              <a:gd name="connsiteY10" fmla="*/ 4407416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23945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3174640" h="4575175">
                <a:moveTo>
                  <a:pt x="24803" y="606206"/>
                </a:moveTo>
                <a:cubicBezTo>
                  <a:pt x="125263" y="342139"/>
                  <a:pt x="225722" y="286809"/>
                  <a:pt x="345232" y="190501"/>
                </a:cubicBezTo>
                <a:cubicBezTo>
                  <a:pt x="609815" y="6351"/>
                  <a:pt x="747399" y="19050"/>
                  <a:pt x="872282" y="0"/>
                </a:cubicBezTo>
                <a:cubicBezTo>
                  <a:pt x="1009947" y="3175"/>
                  <a:pt x="1103163" y="6350"/>
                  <a:pt x="1209078" y="47625"/>
                </a:cubicBezTo>
                <a:cubicBezTo>
                  <a:pt x="1323378" y="97367"/>
                  <a:pt x="1368681" y="109539"/>
                  <a:pt x="1558082" y="279401"/>
                </a:cubicBezTo>
                <a:cubicBezTo>
                  <a:pt x="1664933" y="385763"/>
                  <a:pt x="2023179" y="738717"/>
                  <a:pt x="2345482" y="1066800"/>
                </a:cubicBezTo>
                <a:cubicBezTo>
                  <a:pt x="2562441" y="1305983"/>
                  <a:pt x="2792100" y="1499659"/>
                  <a:pt x="2936033" y="1663701"/>
                </a:cubicBezTo>
                <a:cubicBezTo>
                  <a:pt x="3060916" y="1821393"/>
                  <a:pt x="3198988" y="1990726"/>
                  <a:pt x="3170983" y="2279651"/>
                </a:cubicBezTo>
                <a:cubicBezTo>
                  <a:pt x="3174158" y="2459568"/>
                  <a:pt x="3130196" y="2656418"/>
                  <a:pt x="2961433" y="2882901"/>
                </a:cubicBezTo>
                <a:cubicBezTo>
                  <a:pt x="2779970" y="3083984"/>
                  <a:pt x="2683296" y="3169179"/>
                  <a:pt x="2425103" y="3448050"/>
                </a:cubicBezTo>
                <a:cubicBezTo>
                  <a:pt x="2085378" y="3770842"/>
                  <a:pt x="1577456" y="4305248"/>
                  <a:pt x="1423945" y="4416425"/>
                </a:cubicBezTo>
                <a:cubicBezTo>
                  <a:pt x="1264137" y="4513792"/>
                  <a:pt x="1117091" y="4570994"/>
                  <a:pt x="926503" y="4575175"/>
                </a:cubicBezTo>
                <a:cubicBezTo>
                  <a:pt x="760586" y="4565974"/>
                  <a:pt x="551689" y="4513792"/>
                  <a:pt x="326182" y="4292601"/>
                </a:cubicBezTo>
                <a:cubicBezTo>
                  <a:pt x="224582" y="4167718"/>
                  <a:pt x="95142" y="3979991"/>
                  <a:pt x="87541" y="3831710"/>
                </a:cubicBezTo>
                <a:cubicBezTo>
                  <a:pt x="74028" y="3613139"/>
                  <a:pt x="142032" y="3466042"/>
                  <a:pt x="224582" y="3309938"/>
                </a:cubicBezTo>
                <a:cubicBezTo>
                  <a:pt x="366481" y="3129492"/>
                  <a:pt x="387729" y="3095096"/>
                  <a:pt x="574078" y="2901950"/>
                </a:cubicBezTo>
                <a:cubicBezTo>
                  <a:pt x="656800" y="2780920"/>
                  <a:pt x="692307" y="2737709"/>
                  <a:pt x="747941" y="2592764"/>
                </a:cubicBezTo>
                <a:cubicBezTo>
                  <a:pt x="772043" y="2492863"/>
                  <a:pt x="805002" y="2386884"/>
                  <a:pt x="799773" y="2221468"/>
                </a:cubicBezTo>
                <a:cubicBezTo>
                  <a:pt x="779744" y="1998341"/>
                  <a:pt x="738660" y="1938002"/>
                  <a:pt x="635486" y="1753414"/>
                </a:cubicBezTo>
                <a:cubicBezTo>
                  <a:pt x="563645" y="1664785"/>
                  <a:pt x="442254" y="1567148"/>
                  <a:pt x="343386" y="1469510"/>
                </a:cubicBezTo>
                <a:cubicBezTo>
                  <a:pt x="260028" y="1389435"/>
                  <a:pt x="251498" y="1394326"/>
                  <a:pt x="144348" y="1245938"/>
                </a:cubicBezTo>
                <a:cubicBezTo>
                  <a:pt x="-34873" y="1025479"/>
                  <a:pt x="-10179" y="786616"/>
                  <a:pt x="24803" y="606206"/>
                </a:cubicBezTo>
                <a:close/>
              </a:path>
            </a:pathLst>
          </a:custGeom>
          <a:solidFill>
            <a:schemeClr val="bg1">
              <a:lumMod val="50000"/>
              <a:alpha val="73000"/>
            </a:schemeClr>
          </a:solidFill>
          <a:effectLst/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484870573"/>
      </p:ext>
    </p:extLst>
  </p:cSld>
  <p:clrMapOvr>
    <a:masterClrMapping/>
  </p:clrMapOvr>
  <p:transition spd="med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Oval 12">
            <a:extLst>
              <a:ext uri="{FF2B5EF4-FFF2-40B4-BE49-F238E27FC236}">
                <a16:creationId xmlns:a16="http://schemas.microsoft.com/office/drawing/2014/main" id="{4B6B078F-6B5B-4649-88CA-4457B64650BC}"/>
              </a:ext>
            </a:extLst>
          </p:cNvPr>
          <p:cNvSpPr/>
          <p:nvPr userDrawn="1"/>
        </p:nvSpPr>
        <p:spPr>
          <a:xfrm>
            <a:off x="-786211" y="1806220"/>
            <a:ext cx="251011" cy="251011"/>
          </a:xfrm>
          <a:prstGeom prst="ellipse">
            <a:avLst/>
          </a:prstGeom>
          <a:solidFill>
            <a:srgbClr val="1B48B6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cs typeface="Calibri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5AEDA168-4692-CA42-BBA4-95BEA61E2029}"/>
              </a:ext>
            </a:extLst>
          </p:cNvPr>
          <p:cNvSpPr/>
          <p:nvPr userDrawn="1"/>
        </p:nvSpPr>
        <p:spPr>
          <a:xfrm>
            <a:off x="-786211" y="2669824"/>
            <a:ext cx="251011" cy="251011"/>
          </a:xfrm>
          <a:prstGeom prst="ellipse">
            <a:avLst/>
          </a:prstGeom>
          <a:solidFill>
            <a:srgbClr val="14C26C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cs typeface="Calibri"/>
            </a:endParaRP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01B1B357-5070-E64B-B2AB-C7A6C8B0EA88}"/>
              </a:ext>
            </a:extLst>
          </p:cNvPr>
          <p:cNvSpPr/>
          <p:nvPr userDrawn="1"/>
        </p:nvSpPr>
        <p:spPr>
          <a:xfrm>
            <a:off x="-786211" y="3544717"/>
            <a:ext cx="251011" cy="251011"/>
          </a:xfrm>
          <a:prstGeom prst="ellipse">
            <a:avLst/>
          </a:prstGeom>
          <a:solidFill>
            <a:srgbClr val="8606B6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cs typeface="Calibri"/>
            </a:endParaRP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37CDEDFB-DE1D-2548-81F8-5F67B8B5B0A4}"/>
              </a:ext>
            </a:extLst>
          </p:cNvPr>
          <p:cNvSpPr/>
          <p:nvPr userDrawn="1"/>
        </p:nvSpPr>
        <p:spPr>
          <a:xfrm>
            <a:off x="-786211" y="3979339"/>
            <a:ext cx="251011" cy="251011"/>
          </a:xfrm>
          <a:prstGeom prst="ellipse">
            <a:avLst/>
          </a:prstGeom>
          <a:solidFill>
            <a:srgbClr val="F78423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cs typeface="Calibri"/>
            </a:endParaRP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EB120519-01C4-DF4A-9C1A-EF81D2EAD132}"/>
              </a:ext>
            </a:extLst>
          </p:cNvPr>
          <p:cNvSpPr/>
          <p:nvPr userDrawn="1"/>
        </p:nvSpPr>
        <p:spPr>
          <a:xfrm>
            <a:off x="-786211" y="4413961"/>
            <a:ext cx="251011" cy="251011"/>
          </a:xfrm>
          <a:prstGeom prst="ellipse">
            <a:avLst/>
          </a:prstGeom>
          <a:solidFill>
            <a:srgbClr val="B0005C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cs typeface="Calibri"/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1C268B67-8824-404D-90A8-5FC453F23DD8}"/>
              </a:ext>
            </a:extLst>
          </p:cNvPr>
          <p:cNvSpPr/>
          <p:nvPr userDrawn="1"/>
        </p:nvSpPr>
        <p:spPr>
          <a:xfrm>
            <a:off x="-786211" y="3127024"/>
            <a:ext cx="251011" cy="251011"/>
          </a:xfrm>
          <a:prstGeom prst="ellipse">
            <a:avLst/>
          </a:prstGeom>
          <a:solidFill>
            <a:srgbClr val="00AEEF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cs typeface="Calibri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9C99406D-50EC-C74A-BE89-235970598E07}"/>
              </a:ext>
            </a:extLst>
          </p:cNvPr>
          <p:cNvSpPr txBox="1"/>
          <p:nvPr userDrawn="1"/>
        </p:nvSpPr>
        <p:spPr>
          <a:xfrm>
            <a:off x="-977779" y="4785916"/>
            <a:ext cx="634146" cy="25391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/>
                <a:cs typeface="Calibri"/>
              </a:rPr>
              <a:t>Text color</a:t>
            </a: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168DB5F2-1918-AD47-B02B-3F1311BB9011}"/>
              </a:ext>
            </a:extLst>
          </p:cNvPr>
          <p:cNvSpPr/>
          <p:nvPr userDrawn="1"/>
        </p:nvSpPr>
        <p:spPr>
          <a:xfrm>
            <a:off x="-786211" y="5062901"/>
            <a:ext cx="251011" cy="251011"/>
          </a:xfrm>
          <a:prstGeom prst="ellipse">
            <a:avLst/>
          </a:prstGeom>
          <a:solidFill>
            <a:schemeClr val="tx1">
              <a:lumMod val="85000"/>
              <a:lumOff val="15000"/>
            </a:schemeClr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cs typeface="Calibri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A97B3ABF-B225-9240-BE8E-E95B0968FFBD}"/>
              </a:ext>
            </a:extLst>
          </p:cNvPr>
          <p:cNvSpPr txBox="1"/>
          <p:nvPr userDrawn="1"/>
        </p:nvSpPr>
        <p:spPr>
          <a:xfrm>
            <a:off x="-1008236" y="1503652"/>
            <a:ext cx="695060" cy="24621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/>
                <a:cs typeface="Calibri"/>
              </a:rPr>
              <a:t>Brand color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49B81795-551B-B14E-B662-85CFEDDA1217}"/>
              </a:ext>
            </a:extLst>
          </p:cNvPr>
          <p:cNvSpPr txBox="1"/>
          <p:nvPr userDrawn="1"/>
        </p:nvSpPr>
        <p:spPr>
          <a:xfrm>
            <a:off x="-1093315" y="2220662"/>
            <a:ext cx="897038" cy="40010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/>
                <a:cs typeface="Calibri"/>
              </a:rPr>
              <a:t>Complimentary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/>
                <a:cs typeface="Calibri"/>
              </a:rPr>
              <a:t>colors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463DADCE-D593-2B4C-ACB9-3FC9C22734E1}"/>
              </a:ext>
            </a:extLst>
          </p:cNvPr>
          <p:cNvGrpSpPr/>
          <p:nvPr userDrawn="1"/>
        </p:nvGrpSpPr>
        <p:grpSpPr>
          <a:xfrm>
            <a:off x="3215678" y="2940163"/>
            <a:ext cx="5361606" cy="875744"/>
            <a:chOff x="3242838" y="3018288"/>
            <a:chExt cx="5361606" cy="875744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CDC84A69-80E3-194A-AEB4-140592EB208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242838" y="3018288"/>
              <a:ext cx="2247900" cy="875744"/>
            </a:xfrm>
            <a:prstGeom prst="rect">
              <a:avLst/>
            </a:prstGeom>
          </p:spPr>
        </p:pic>
        <p:sp>
          <p:nvSpPr>
            <p:cNvPr id="2" name="TextBox 1">
              <a:extLst>
                <a:ext uri="{FF2B5EF4-FFF2-40B4-BE49-F238E27FC236}">
                  <a16:creationId xmlns:a16="http://schemas.microsoft.com/office/drawing/2014/main" id="{484A5E78-5DD6-3141-ACA9-462B3D026C09}"/>
                </a:ext>
              </a:extLst>
            </p:cNvPr>
            <p:cNvSpPr txBox="1"/>
            <p:nvPr userDrawn="1"/>
          </p:nvSpPr>
          <p:spPr>
            <a:xfrm>
              <a:off x="6170125" y="3192211"/>
              <a:ext cx="2434319" cy="40010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none" lIns="45719" tIns="45719" rIns="45719" bIns="45719" numCol="1" spcCol="38100" rtlCol="0" anchor="t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otham Medium" pitchFamily="2" charset="0"/>
                  <a:cs typeface="Gotham Medium" pitchFamily="2" charset="0"/>
                </a:rPr>
                <a:t>beyond tomorrow</a:t>
              </a: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otham Medium" pitchFamily="2" charset="0"/>
                <a:cs typeface="Gotham Medium" pitchFamily="2" charset="0"/>
              </a:endParaRPr>
            </a:p>
          </p:txBody>
        </p:sp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0CCB8ED5-85E8-6D42-BE05-EF3E861F038E}"/>
                </a:ext>
              </a:extLst>
            </p:cNvPr>
            <p:cNvCxnSpPr/>
            <p:nvPr userDrawn="1"/>
          </p:nvCxnSpPr>
          <p:spPr>
            <a:xfrm>
              <a:off x="5830431" y="3018288"/>
              <a:ext cx="0" cy="875744"/>
            </a:xfrm>
            <a:prstGeom prst="line">
              <a:avLst/>
            </a:prstGeom>
            <a:noFill/>
            <a:ln w="12700" cap="flat">
              <a:solidFill>
                <a:schemeClr val="bg2">
                  <a:lumMod val="75000"/>
                </a:schemeClr>
              </a:solidFill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</p:grpSp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E388449F-E0A6-6D4C-9487-635724AAE67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-1799" y="6577895"/>
            <a:ext cx="2923419" cy="28010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lumMod val="50000"/>
                    <a:lumOff val="50000"/>
                  </a:schemeClr>
                </a:solidFill>
                <a:latin typeface="Gotham Medium" pitchFamily="2" charset="0"/>
                <a:cs typeface="Gotham Medium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Gotham Medium" pitchFamily="2" charset="0"/>
              </a:rPr>
              <a:t>© 2019-2020 </a:t>
            </a:r>
            <a:r>
              <a:rPr kumimoji="0" lang="en-IN" sz="9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Gotham Medium" pitchFamily="2" charset="0"/>
              </a:rPr>
              <a:t>Sterlite Technologies Limited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Gotham Medium" pitchFamily="2" charset="0"/>
            </a:endParaRPr>
          </a:p>
        </p:txBody>
      </p:sp>
      <p:sp>
        <p:nvSpPr>
          <p:cNvPr id="20" name="Slide Number">
            <a:extLst>
              <a:ext uri="{FF2B5EF4-FFF2-40B4-BE49-F238E27FC236}">
                <a16:creationId xmlns:a16="http://schemas.microsoft.com/office/drawing/2014/main" id="{47AEC7C1-0153-0D4F-BA3B-DA473D3B60EA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1924168" y="6605588"/>
            <a:ext cx="271867" cy="246221"/>
          </a:xfrm>
          <a:prstGeom prst="rect">
            <a:avLst/>
          </a:prstGeom>
        </p:spPr>
        <p:txBody>
          <a:bodyPr/>
          <a:lstStyle>
            <a:lvl1pPr>
              <a:defRPr sz="1000">
                <a:latin typeface="Gotham Medium" pitchFamily="2" charset="0"/>
                <a:cs typeface="Gotham Medium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lang="en-IN" sz="1000" b="0" i="0" u="none" strike="noStrike" kern="1200" cap="none" spc="0" normalizeH="0" baseline="0" noProof="0" smtClean="0">
                <a:ln>
                  <a:noFill/>
                </a:ln>
                <a:solidFill>
                  <a:srgbClr val="929292"/>
                </a:solidFill>
                <a:effectLst/>
                <a:uLnTx/>
                <a:uFillTx/>
                <a:latin typeface="Gotham Medium" pitchFamily="2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IN" sz="1000" b="0" i="0" u="none" strike="noStrike" kern="1200" cap="none" spc="0" normalizeH="0" baseline="0" noProof="0" dirty="0">
              <a:ln>
                <a:noFill/>
              </a:ln>
              <a:solidFill>
                <a:srgbClr val="929292"/>
              </a:solidFill>
              <a:effectLst/>
              <a:uLnTx/>
              <a:uFillTx/>
              <a:latin typeface="Gotham Medium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062851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_Sec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id="{D43CBA1E-3BF5-4E22-B046-1DBDB881C5E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210196" y="5602270"/>
            <a:ext cx="2174684" cy="453773"/>
          </a:xfrm>
          <a:prstGeom prst="rect">
            <a:avLst/>
          </a:prstGeom>
        </p:spPr>
      </p:pic>
      <p:sp>
        <p:nvSpPr>
          <p:cNvPr id="8" name="Rectangle: Diagonal Corners Rounded 7">
            <a:extLst>
              <a:ext uri="{FF2B5EF4-FFF2-40B4-BE49-F238E27FC236}">
                <a16:creationId xmlns:a16="http://schemas.microsoft.com/office/drawing/2014/main" id="{CFE4B822-7163-4FB1-B200-81284C130CCD}"/>
              </a:ext>
            </a:extLst>
          </p:cNvPr>
          <p:cNvSpPr/>
          <p:nvPr userDrawn="1"/>
        </p:nvSpPr>
        <p:spPr>
          <a:xfrm flipH="1">
            <a:off x="749147" y="760164"/>
            <a:ext cx="7590622" cy="5310130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75AEEC81-7D64-4CA9-87DC-FF0D7D8D3C3E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1459345" y="2368504"/>
            <a:ext cx="10233891" cy="1815882"/>
          </a:xfrm>
          <a:prstGeom prst="rect">
            <a:avLst/>
          </a:prstGeom>
        </p:spPr>
        <p:txBody>
          <a:bodyPr tIns="0" anchor="t">
            <a:normAutofit/>
          </a:bodyPr>
          <a:lstStyle>
            <a:lvl1pPr marL="0" indent="0">
              <a:lnSpc>
                <a:spcPct val="100000"/>
              </a:lnSpc>
              <a:spcAft>
                <a:spcPts val="600"/>
              </a:spcAft>
              <a:buNone/>
              <a:defRPr sz="11500" b="1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title line two</a:t>
            </a:r>
          </a:p>
        </p:txBody>
      </p:sp>
    </p:spTree>
    <p:extLst>
      <p:ext uri="{BB962C8B-B14F-4D97-AF65-F5344CB8AC3E}">
        <p14:creationId xmlns:p14="http://schemas.microsoft.com/office/powerpoint/2010/main" val="333601754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">
            <a:extLst>
              <a:ext uri="{FF2B5EF4-FFF2-40B4-BE49-F238E27FC236}">
                <a16:creationId xmlns:a16="http://schemas.microsoft.com/office/drawing/2014/main" id="{3458FAF4-B7CB-1340-8901-F7EC7F2C62B1}"/>
              </a:ext>
            </a:extLst>
          </p:cNvPr>
          <p:cNvSpPr/>
          <p:nvPr userDrawn="1"/>
        </p:nvSpPr>
        <p:spPr>
          <a:xfrm flipV="1">
            <a:off x="463638" y="1013885"/>
            <a:ext cx="11252267" cy="18000"/>
          </a:xfrm>
          <a:prstGeom prst="roundRect">
            <a:avLst>
              <a:gd name="adj" fmla="val 50000"/>
            </a:avLst>
          </a:prstGeom>
          <a:gradFill>
            <a:gsLst>
              <a:gs pos="0">
                <a:schemeClr val="bg2">
                  <a:lumMod val="75000"/>
                </a:schemeClr>
              </a:gs>
              <a:gs pos="96000">
                <a:schemeClr val="bg1">
                  <a:alpha val="0"/>
                </a:schemeClr>
              </a:gs>
            </a:gsLst>
            <a:lin ang="1140000" scaled="0"/>
          </a:gradFill>
          <a:ln w="12700">
            <a:miter lim="400000"/>
          </a:ln>
        </p:spPr>
        <p:txBody>
          <a:bodyPr lIns="0" tIns="0" rIns="0" bIns="0" anchor="ctr">
            <a:noAutofit/>
          </a:bodyPr>
          <a:lstStyle/>
          <a:p>
            <a:pPr defTabSz="825500"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3A3218-217B-494A-AA85-B666F0B41D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639" y="213332"/>
            <a:ext cx="9070253" cy="800554"/>
          </a:xfrm>
          <a:prstGeom prst="rect">
            <a:avLst/>
          </a:prstGeom>
        </p:spPr>
        <p:txBody>
          <a:bodyPr anchor="ctr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7062C53C-70C0-244F-ABC2-135CA0E50B06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1924168" y="6605588"/>
            <a:ext cx="245751" cy="225709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521B9F41-F234-5646-8C69-31DB1DDE0F7A}"/>
              </a:ext>
            </a:extLst>
          </p:cNvPr>
          <p:cNvSpPr/>
          <p:nvPr userDrawn="1"/>
        </p:nvSpPr>
        <p:spPr>
          <a:xfrm>
            <a:off x="-786211" y="1806220"/>
            <a:ext cx="251011" cy="251011"/>
          </a:xfrm>
          <a:prstGeom prst="ellipse">
            <a:avLst/>
          </a:prstGeom>
          <a:solidFill>
            <a:srgbClr val="1B48B6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DF74820F-00D0-3144-9F5F-E63C0E86852F}"/>
              </a:ext>
            </a:extLst>
          </p:cNvPr>
          <p:cNvSpPr/>
          <p:nvPr userDrawn="1"/>
        </p:nvSpPr>
        <p:spPr>
          <a:xfrm>
            <a:off x="-786211" y="2669824"/>
            <a:ext cx="251011" cy="251011"/>
          </a:xfrm>
          <a:prstGeom prst="ellipse">
            <a:avLst/>
          </a:prstGeom>
          <a:solidFill>
            <a:srgbClr val="14C26C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41A83626-8724-9645-A457-B6947B936126}"/>
              </a:ext>
            </a:extLst>
          </p:cNvPr>
          <p:cNvSpPr/>
          <p:nvPr userDrawn="1"/>
        </p:nvSpPr>
        <p:spPr>
          <a:xfrm>
            <a:off x="-786211" y="3544717"/>
            <a:ext cx="251011" cy="251011"/>
          </a:xfrm>
          <a:prstGeom prst="ellipse">
            <a:avLst/>
          </a:prstGeom>
          <a:solidFill>
            <a:srgbClr val="8606B6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BA8B78A6-FFFF-A34A-A215-A200C015C9E0}"/>
              </a:ext>
            </a:extLst>
          </p:cNvPr>
          <p:cNvSpPr/>
          <p:nvPr userDrawn="1"/>
        </p:nvSpPr>
        <p:spPr>
          <a:xfrm>
            <a:off x="-786211" y="3979339"/>
            <a:ext cx="251011" cy="251011"/>
          </a:xfrm>
          <a:prstGeom prst="ellipse">
            <a:avLst/>
          </a:prstGeom>
          <a:solidFill>
            <a:srgbClr val="F78423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757E2777-89F5-C845-8CEA-52FB08D6DA28}"/>
              </a:ext>
            </a:extLst>
          </p:cNvPr>
          <p:cNvSpPr/>
          <p:nvPr userDrawn="1"/>
        </p:nvSpPr>
        <p:spPr>
          <a:xfrm>
            <a:off x="-786211" y="4413961"/>
            <a:ext cx="251011" cy="251011"/>
          </a:xfrm>
          <a:prstGeom prst="ellipse">
            <a:avLst/>
          </a:prstGeom>
          <a:solidFill>
            <a:srgbClr val="B0005C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C8660B14-6FB3-794C-AA6A-399EFDD5777F}"/>
              </a:ext>
            </a:extLst>
          </p:cNvPr>
          <p:cNvSpPr/>
          <p:nvPr userDrawn="1"/>
        </p:nvSpPr>
        <p:spPr>
          <a:xfrm>
            <a:off x="-786211" y="3127024"/>
            <a:ext cx="251011" cy="251011"/>
          </a:xfrm>
          <a:prstGeom prst="ellipse">
            <a:avLst/>
          </a:prstGeom>
          <a:solidFill>
            <a:srgbClr val="00AEEF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3A9ECFFF-C4EB-0948-BA91-2631A7564B83}"/>
              </a:ext>
            </a:extLst>
          </p:cNvPr>
          <p:cNvSpPr txBox="1"/>
          <p:nvPr userDrawn="1"/>
        </p:nvSpPr>
        <p:spPr>
          <a:xfrm>
            <a:off x="-977779" y="4785916"/>
            <a:ext cx="634146" cy="25391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Text color</a:t>
            </a: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EBC27F33-7866-4F4A-9FCF-1DF9C5ACAE7D}"/>
              </a:ext>
            </a:extLst>
          </p:cNvPr>
          <p:cNvSpPr/>
          <p:nvPr userDrawn="1"/>
        </p:nvSpPr>
        <p:spPr>
          <a:xfrm>
            <a:off x="-786211" y="5062901"/>
            <a:ext cx="251011" cy="251011"/>
          </a:xfrm>
          <a:prstGeom prst="ellipse">
            <a:avLst/>
          </a:prstGeom>
          <a:solidFill>
            <a:schemeClr val="tx1">
              <a:lumMod val="85000"/>
              <a:lumOff val="15000"/>
            </a:schemeClr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8AA9D110-9BF5-7947-9FAE-921099CA6FCD}"/>
              </a:ext>
            </a:extLst>
          </p:cNvPr>
          <p:cNvSpPr txBox="1"/>
          <p:nvPr userDrawn="1"/>
        </p:nvSpPr>
        <p:spPr>
          <a:xfrm>
            <a:off x="-1008236" y="1503652"/>
            <a:ext cx="695060" cy="24621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Brand color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F422A268-4CEA-F743-8CD9-CE9C39DDAB51}"/>
              </a:ext>
            </a:extLst>
          </p:cNvPr>
          <p:cNvSpPr txBox="1"/>
          <p:nvPr userDrawn="1"/>
        </p:nvSpPr>
        <p:spPr>
          <a:xfrm>
            <a:off x="-1093315" y="2220662"/>
            <a:ext cx="897038" cy="40010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Complimentary</a:t>
            </a:r>
          </a:p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colors</a:t>
            </a:r>
          </a:p>
        </p:txBody>
      </p:sp>
    </p:spTree>
    <p:extLst>
      <p:ext uri="{BB962C8B-B14F-4D97-AF65-F5344CB8AC3E}">
        <p14:creationId xmlns:p14="http://schemas.microsoft.com/office/powerpoint/2010/main" val="463429602"/>
      </p:ext>
    </p:extLst>
  </p:cSld>
  <p:clrMapOvr>
    <a:masterClrMapping/>
  </p:clrMapOvr>
  <p:transition spd="med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&amp; n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oogle Shape;1257;p9" descr="Pexels Videos 2257256.mp4">
            <a:extLst>
              <a:ext uri="{FF2B5EF4-FFF2-40B4-BE49-F238E27FC236}">
                <a16:creationId xmlns:a16="http://schemas.microsoft.com/office/drawing/2014/main" id="{3C9CF11C-DBC0-52DC-2982-1F8E1523927E}"/>
              </a:ext>
            </a:extLst>
          </p:cNvPr>
          <p:cNvPicPr preferRelativeResize="0"/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6" name="Google Shape;4314;p19">
            <a:extLst>
              <a:ext uri="{FF2B5EF4-FFF2-40B4-BE49-F238E27FC236}">
                <a16:creationId xmlns:a16="http://schemas.microsoft.com/office/drawing/2014/main" id="{9FD2B120-D3B5-E6A7-6680-8D530DF999E6}"/>
              </a:ext>
            </a:extLst>
          </p:cNvPr>
          <p:cNvSpPr/>
          <p:nvPr userDrawn="1"/>
        </p:nvSpPr>
        <p:spPr>
          <a:xfrm>
            <a:off x="0" y="0"/>
            <a:ext cx="12179418" cy="6858000"/>
          </a:xfrm>
          <a:prstGeom prst="rect">
            <a:avLst/>
          </a:prstGeom>
          <a:gradFill flip="none" rotWithShape="1">
            <a:gsLst>
              <a:gs pos="0">
                <a:srgbClr val="021C4D">
                  <a:alpha val="30000"/>
                </a:srgbClr>
              </a:gs>
              <a:gs pos="99000">
                <a:srgbClr val="002060"/>
              </a:gs>
            </a:gsLst>
            <a:lin ang="0" scaled="1"/>
            <a:tileRect/>
          </a:gradFill>
          <a:ln w="12700" cap="flat" cmpd="sng">
            <a:noFill/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FC89746-4787-DCC4-A198-885F578FA5BF}"/>
              </a:ext>
            </a:extLst>
          </p:cNvPr>
          <p:cNvSpPr txBox="1"/>
          <p:nvPr userDrawn="1"/>
        </p:nvSpPr>
        <p:spPr>
          <a:xfrm>
            <a:off x="-166255" y="4476997"/>
            <a:ext cx="92396" cy="36933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24" name="Rectangle">
            <a:extLst>
              <a:ext uri="{FF2B5EF4-FFF2-40B4-BE49-F238E27FC236}">
                <a16:creationId xmlns:a16="http://schemas.microsoft.com/office/drawing/2014/main" id="{3458FAF4-B7CB-1340-8901-F7EC7F2C62B1}"/>
              </a:ext>
            </a:extLst>
          </p:cNvPr>
          <p:cNvSpPr/>
          <p:nvPr userDrawn="1"/>
        </p:nvSpPr>
        <p:spPr>
          <a:xfrm flipV="1">
            <a:off x="463638" y="1119392"/>
            <a:ext cx="11252267" cy="18000"/>
          </a:xfrm>
          <a:prstGeom prst="roundRect">
            <a:avLst>
              <a:gd name="adj" fmla="val 50000"/>
            </a:avLst>
          </a:prstGeom>
          <a:gradFill>
            <a:gsLst>
              <a:gs pos="0">
                <a:schemeClr val="bg2">
                  <a:lumMod val="75000"/>
                </a:schemeClr>
              </a:gs>
              <a:gs pos="96000">
                <a:schemeClr val="bg1">
                  <a:alpha val="0"/>
                </a:schemeClr>
              </a:gs>
            </a:gsLst>
            <a:lin ang="1140000" scaled="0"/>
          </a:gradFill>
          <a:ln w="12700">
            <a:miter lim="400000"/>
          </a:ln>
        </p:spPr>
        <p:txBody>
          <a:bodyPr lIns="0" tIns="0" rIns="0" bIns="0" anchor="ctr">
            <a:noAutofit/>
          </a:bodyPr>
          <a:lstStyle/>
          <a:p>
            <a:pPr marL="0" marR="0" lvl="0" indent="0" algn="l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kumimoji="0" sz="3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3A3218-217B-494A-AA85-B666F0B41D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639" y="318839"/>
            <a:ext cx="9070253" cy="800554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7062C53C-70C0-244F-ABC2-135CA0E50B06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1924168" y="6605588"/>
            <a:ext cx="245751" cy="225709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sz="1100" b="0" i="0" u="none" strike="noStrike" kern="0" cap="none" spc="0" normalizeH="0" baseline="0" noProof="0">
                <a:ln>
                  <a:noFill/>
                </a:ln>
                <a:solidFill>
                  <a:srgbClr val="929292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sz="1100" b="0" i="0" u="none" strike="noStrike" kern="0" cap="none" spc="0" normalizeH="0" baseline="0" noProof="0">
              <a:ln>
                <a:noFill/>
              </a:ln>
              <a:solidFill>
                <a:srgbClr val="929292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521B9F41-F234-5646-8C69-31DB1DDE0F7A}"/>
              </a:ext>
            </a:extLst>
          </p:cNvPr>
          <p:cNvSpPr/>
          <p:nvPr userDrawn="1"/>
        </p:nvSpPr>
        <p:spPr>
          <a:xfrm>
            <a:off x="-786211" y="1806220"/>
            <a:ext cx="251011" cy="251011"/>
          </a:xfrm>
          <a:prstGeom prst="ellipse">
            <a:avLst/>
          </a:prstGeom>
          <a:solidFill>
            <a:srgbClr val="1B48B6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  <a:sym typeface="Calibri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DF74820F-00D0-3144-9F5F-E63C0E86852F}"/>
              </a:ext>
            </a:extLst>
          </p:cNvPr>
          <p:cNvSpPr/>
          <p:nvPr userDrawn="1"/>
        </p:nvSpPr>
        <p:spPr>
          <a:xfrm>
            <a:off x="-786211" y="2669824"/>
            <a:ext cx="251011" cy="251011"/>
          </a:xfrm>
          <a:prstGeom prst="ellipse">
            <a:avLst/>
          </a:prstGeom>
          <a:solidFill>
            <a:srgbClr val="14C26C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  <a:sym typeface="Calibri"/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41A83626-8724-9645-A457-B6947B936126}"/>
              </a:ext>
            </a:extLst>
          </p:cNvPr>
          <p:cNvSpPr/>
          <p:nvPr userDrawn="1"/>
        </p:nvSpPr>
        <p:spPr>
          <a:xfrm>
            <a:off x="-786211" y="3544717"/>
            <a:ext cx="251011" cy="251011"/>
          </a:xfrm>
          <a:prstGeom prst="ellipse">
            <a:avLst/>
          </a:prstGeom>
          <a:solidFill>
            <a:srgbClr val="8606B6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  <a:sym typeface="Calibri"/>
            </a:endParaRP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BA8B78A6-FFFF-A34A-A215-A200C015C9E0}"/>
              </a:ext>
            </a:extLst>
          </p:cNvPr>
          <p:cNvSpPr/>
          <p:nvPr userDrawn="1"/>
        </p:nvSpPr>
        <p:spPr>
          <a:xfrm>
            <a:off x="-786211" y="3979339"/>
            <a:ext cx="251011" cy="251011"/>
          </a:xfrm>
          <a:prstGeom prst="ellipse">
            <a:avLst/>
          </a:prstGeom>
          <a:solidFill>
            <a:srgbClr val="F78423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  <a:sym typeface="Calibri"/>
            </a:endParaRP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757E2777-89F5-C845-8CEA-52FB08D6DA28}"/>
              </a:ext>
            </a:extLst>
          </p:cNvPr>
          <p:cNvSpPr/>
          <p:nvPr userDrawn="1"/>
        </p:nvSpPr>
        <p:spPr>
          <a:xfrm>
            <a:off x="-786211" y="4413961"/>
            <a:ext cx="251011" cy="251011"/>
          </a:xfrm>
          <a:prstGeom prst="ellipse">
            <a:avLst/>
          </a:prstGeom>
          <a:solidFill>
            <a:srgbClr val="B0005C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  <a:sym typeface="Calibri"/>
            </a:endParaRP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C8660B14-6FB3-794C-AA6A-399EFDD5777F}"/>
              </a:ext>
            </a:extLst>
          </p:cNvPr>
          <p:cNvSpPr/>
          <p:nvPr userDrawn="1"/>
        </p:nvSpPr>
        <p:spPr>
          <a:xfrm>
            <a:off x="-786211" y="3127024"/>
            <a:ext cx="251011" cy="251011"/>
          </a:xfrm>
          <a:prstGeom prst="ellipse">
            <a:avLst/>
          </a:prstGeom>
          <a:solidFill>
            <a:srgbClr val="00AEEF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  <a:sym typeface="Calibri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3A9ECFFF-C4EB-0948-BA91-2631A7564B83}"/>
              </a:ext>
            </a:extLst>
          </p:cNvPr>
          <p:cNvSpPr txBox="1"/>
          <p:nvPr userDrawn="1"/>
        </p:nvSpPr>
        <p:spPr>
          <a:xfrm>
            <a:off x="-977779" y="4785916"/>
            <a:ext cx="634146" cy="25391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Calibri"/>
                <a:sym typeface="Calibri"/>
              </a:rPr>
              <a:t>Text color</a:t>
            </a: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EBC27F33-7866-4F4A-9FCF-1DF9C5ACAE7D}"/>
              </a:ext>
            </a:extLst>
          </p:cNvPr>
          <p:cNvSpPr/>
          <p:nvPr userDrawn="1"/>
        </p:nvSpPr>
        <p:spPr>
          <a:xfrm>
            <a:off x="-786211" y="5062901"/>
            <a:ext cx="251011" cy="251011"/>
          </a:xfrm>
          <a:prstGeom prst="ellipse">
            <a:avLst/>
          </a:prstGeom>
          <a:solidFill>
            <a:schemeClr val="tx1">
              <a:lumMod val="85000"/>
              <a:lumOff val="15000"/>
            </a:schemeClr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  <a:sym typeface="Calibri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8AA9D110-9BF5-7947-9FAE-921099CA6FCD}"/>
              </a:ext>
            </a:extLst>
          </p:cNvPr>
          <p:cNvSpPr txBox="1"/>
          <p:nvPr userDrawn="1"/>
        </p:nvSpPr>
        <p:spPr>
          <a:xfrm>
            <a:off x="-1008236" y="1503652"/>
            <a:ext cx="695060" cy="24621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Calibri"/>
                <a:sym typeface="Calibri"/>
              </a:rPr>
              <a:t>Brand color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F422A268-4CEA-F743-8CD9-CE9C39DDAB51}"/>
              </a:ext>
            </a:extLst>
          </p:cNvPr>
          <p:cNvSpPr txBox="1"/>
          <p:nvPr userDrawn="1"/>
        </p:nvSpPr>
        <p:spPr>
          <a:xfrm>
            <a:off x="-1093315" y="2220662"/>
            <a:ext cx="897038" cy="40010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Calibri"/>
                <a:sym typeface="Calibri"/>
              </a:rPr>
              <a:t>Complimentary</a:t>
            </a:r>
          </a:p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Calibri"/>
                <a:sym typeface="Calibri"/>
              </a:rPr>
              <a:t>colors</a:t>
            </a:r>
          </a:p>
        </p:txBody>
      </p:sp>
    </p:spTree>
    <p:extLst>
      <p:ext uri="{BB962C8B-B14F-4D97-AF65-F5344CB8AC3E}">
        <p14:creationId xmlns:p14="http://schemas.microsoft.com/office/powerpoint/2010/main" val="2903212594"/>
      </p:ext>
    </p:extLst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A_Blac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: Shape 1">
            <a:extLst>
              <a:ext uri="{FF2B5EF4-FFF2-40B4-BE49-F238E27FC236}">
                <a16:creationId xmlns:a16="http://schemas.microsoft.com/office/drawing/2014/main" id="{67D0BD23-98C8-4433-A690-6C84A588925A}"/>
              </a:ext>
            </a:extLst>
          </p:cNvPr>
          <p:cNvSpPr/>
          <p:nvPr userDrawn="1"/>
        </p:nvSpPr>
        <p:spPr>
          <a:xfrm>
            <a:off x="11106343" y="6515266"/>
            <a:ext cx="1085657" cy="365604"/>
          </a:xfrm>
          <a:custGeom>
            <a:avLst/>
            <a:gdLst>
              <a:gd name="connsiteX0" fmla="*/ 273887 w 1085657"/>
              <a:gd name="connsiteY0" fmla="*/ 0 h 365604"/>
              <a:gd name="connsiteX1" fmla="*/ 1085657 w 1085657"/>
              <a:gd name="connsiteY1" fmla="*/ 0 h 365604"/>
              <a:gd name="connsiteX2" fmla="*/ 1085657 w 1085657"/>
              <a:gd name="connsiteY2" fmla="*/ 342734 h 365604"/>
              <a:gd name="connsiteX3" fmla="*/ 950 w 1085657"/>
              <a:gd name="connsiteY3" fmla="*/ 342734 h 365604"/>
              <a:gd name="connsiteX4" fmla="*/ 950 w 1085657"/>
              <a:gd name="connsiteY4" fmla="*/ 365604 h 365604"/>
              <a:gd name="connsiteX5" fmla="*/ 0 w 1085657"/>
              <a:gd name="connsiteY5" fmla="*/ 365604 h 365604"/>
              <a:gd name="connsiteX6" fmla="*/ 0 w 1085657"/>
              <a:gd name="connsiteY6" fmla="*/ 273887 h 365604"/>
              <a:gd name="connsiteX7" fmla="*/ 273887 w 1085657"/>
              <a:gd name="connsiteY7" fmla="*/ 0 h 3656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85657" h="365604">
                <a:moveTo>
                  <a:pt x="273887" y="0"/>
                </a:moveTo>
                <a:lnTo>
                  <a:pt x="1085657" y="0"/>
                </a:lnTo>
                <a:lnTo>
                  <a:pt x="1085657" y="342734"/>
                </a:lnTo>
                <a:lnTo>
                  <a:pt x="950" y="342734"/>
                </a:lnTo>
                <a:lnTo>
                  <a:pt x="950" y="365604"/>
                </a:lnTo>
                <a:lnTo>
                  <a:pt x="0" y="365604"/>
                </a:lnTo>
                <a:lnTo>
                  <a:pt x="0" y="273887"/>
                </a:lnTo>
                <a:cubicBezTo>
                  <a:pt x="0" y="122646"/>
                  <a:pt x="122646" y="0"/>
                  <a:pt x="273887" y="0"/>
                </a:cubicBezTo>
                <a:close/>
              </a:path>
            </a:pathLst>
          </a:custGeom>
          <a:solidFill>
            <a:srgbClr val="EDEEF0"/>
          </a:solidFill>
          <a:ln w="13549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B8961DDB-246D-4348-96FA-20904289D65A}"/>
              </a:ext>
            </a:extLst>
          </p:cNvPr>
          <p:cNvSpPr/>
          <p:nvPr userDrawn="1"/>
        </p:nvSpPr>
        <p:spPr>
          <a:xfrm>
            <a:off x="1" y="6515266"/>
            <a:ext cx="11107293" cy="342735"/>
          </a:xfrm>
          <a:custGeom>
            <a:avLst/>
            <a:gdLst>
              <a:gd name="connsiteX0" fmla="*/ 0 w 11107293"/>
              <a:gd name="connsiteY0" fmla="*/ 0 h 342735"/>
              <a:gd name="connsiteX1" fmla="*/ 10838690 w 11107293"/>
              <a:gd name="connsiteY1" fmla="*/ 0 h 342735"/>
              <a:gd name="connsiteX2" fmla="*/ 11107293 w 11107293"/>
              <a:gd name="connsiteY2" fmla="*/ 268602 h 342735"/>
              <a:gd name="connsiteX3" fmla="*/ 11107293 w 11107293"/>
              <a:gd name="connsiteY3" fmla="*/ 342735 h 342735"/>
              <a:gd name="connsiteX4" fmla="*/ 0 w 11107293"/>
              <a:gd name="connsiteY4" fmla="*/ 342735 h 342735"/>
              <a:gd name="connsiteX5" fmla="*/ 0 w 11107293"/>
              <a:gd name="connsiteY5" fmla="*/ 0 h 3427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107293" h="342735">
                <a:moveTo>
                  <a:pt x="0" y="0"/>
                </a:moveTo>
                <a:lnTo>
                  <a:pt x="10838690" y="0"/>
                </a:lnTo>
                <a:cubicBezTo>
                  <a:pt x="10986950" y="0"/>
                  <a:pt x="11107293" y="120207"/>
                  <a:pt x="11107293" y="268602"/>
                </a:cubicBezTo>
                <a:lnTo>
                  <a:pt x="11107293" y="342735"/>
                </a:lnTo>
                <a:lnTo>
                  <a:pt x="0" y="342735"/>
                </a:lnTo>
                <a:lnTo>
                  <a:pt x="0" y="0"/>
                </a:lnTo>
                <a:close/>
              </a:path>
            </a:pathLst>
          </a:custGeom>
          <a:solidFill>
            <a:srgbClr val="EDEEF0"/>
          </a:solidFill>
          <a:ln w="13549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765BEBFE-70DF-4397-93F9-3D67BC1AF85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392068" y="6602145"/>
            <a:ext cx="626225" cy="130532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9F69569D-B9AF-468B-A0C1-5ECB9C4E0926}"/>
              </a:ext>
            </a:extLst>
          </p:cNvPr>
          <p:cNvSpPr txBox="1"/>
          <p:nvPr userDrawn="1"/>
        </p:nvSpPr>
        <p:spPr>
          <a:xfrm>
            <a:off x="10437092" y="6567263"/>
            <a:ext cx="674254" cy="2616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fld id="{9CF728AB-3CFD-45BF-ABDE-FEDAF7F3D777}" type="slidenum">
              <a:rPr lang="en-US" sz="1100" smtClean="0">
                <a:solidFill>
                  <a:schemeClr val="bg1">
                    <a:lumMod val="50000"/>
                  </a:schemeClr>
                </a:solidFill>
              </a:rPr>
              <a:pPr algn="ctr"/>
              <a:t>‹#›</a:t>
            </a:fld>
            <a:endParaRPr lang="en-US" sz="110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683751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_Black_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2EFD75-F0B1-4FE6-BE2A-B57DB53E03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2852" y="294639"/>
            <a:ext cx="11535947" cy="5492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7892E15C-EE81-4340-9239-499D6A3E46F0}"/>
              </a:ext>
            </a:extLst>
          </p:cNvPr>
          <p:cNvSpPr/>
          <p:nvPr userDrawn="1"/>
        </p:nvSpPr>
        <p:spPr>
          <a:xfrm>
            <a:off x="11106343" y="6515266"/>
            <a:ext cx="1085657" cy="365604"/>
          </a:xfrm>
          <a:custGeom>
            <a:avLst/>
            <a:gdLst>
              <a:gd name="connsiteX0" fmla="*/ 273887 w 1085657"/>
              <a:gd name="connsiteY0" fmla="*/ 0 h 365604"/>
              <a:gd name="connsiteX1" fmla="*/ 1085657 w 1085657"/>
              <a:gd name="connsiteY1" fmla="*/ 0 h 365604"/>
              <a:gd name="connsiteX2" fmla="*/ 1085657 w 1085657"/>
              <a:gd name="connsiteY2" fmla="*/ 342734 h 365604"/>
              <a:gd name="connsiteX3" fmla="*/ 950 w 1085657"/>
              <a:gd name="connsiteY3" fmla="*/ 342734 h 365604"/>
              <a:gd name="connsiteX4" fmla="*/ 950 w 1085657"/>
              <a:gd name="connsiteY4" fmla="*/ 365604 h 365604"/>
              <a:gd name="connsiteX5" fmla="*/ 0 w 1085657"/>
              <a:gd name="connsiteY5" fmla="*/ 365604 h 365604"/>
              <a:gd name="connsiteX6" fmla="*/ 0 w 1085657"/>
              <a:gd name="connsiteY6" fmla="*/ 273887 h 365604"/>
              <a:gd name="connsiteX7" fmla="*/ 273887 w 1085657"/>
              <a:gd name="connsiteY7" fmla="*/ 0 h 3656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85657" h="365604">
                <a:moveTo>
                  <a:pt x="273887" y="0"/>
                </a:moveTo>
                <a:lnTo>
                  <a:pt x="1085657" y="0"/>
                </a:lnTo>
                <a:lnTo>
                  <a:pt x="1085657" y="342734"/>
                </a:lnTo>
                <a:lnTo>
                  <a:pt x="950" y="342734"/>
                </a:lnTo>
                <a:lnTo>
                  <a:pt x="950" y="365604"/>
                </a:lnTo>
                <a:lnTo>
                  <a:pt x="0" y="365604"/>
                </a:lnTo>
                <a:lnTo>
                  <a:pt x="0" y="273887"/>
                </a:lnTo>
                <a:cubicBezTo>
                  <a:pt x="0" y="122646"/>
                  <a:pt x="122646" y="0"/>
                  <a:pt x="273887" y="0"/>
                </a:cubicBezTo>
                <a:close/>
              </a:path>
            </a:pathLst>
          </a:custGeom>
          <a:solidFill>
            <a:srgbClr val="EDEEF0"/>
          </a:solidFill>
          <a:ln w="13549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BDA61D2C-8E1F-47E1-84F6-9625DF953CD0}"/>
              </a:ext>
            </a:extLst>
          </p:cNvPr>
          <p:cNvSpPr/>
          <p:nvPr userDrawn="1"/>
        </p:nvSpPr>
        <p:spPr>
          <a:xfrm>
            <a:off x="1" y="6515266"/>
            <a:ext cx="11107293" cy="342735"/>
          </a:xfrm>
          <a:custGeom>
            <a:avLst/>
            <a:gdLst>
              <a:gd name="connsiteX0" fmla="*/ 0 w 11107293"/>
              <a:gd name="connsiteY0" fmla="*/ 0 h 342735"/>
              <a:gd name="connsiteX1" fmla="*/ 10838690 w 11107293"/>
              <a:gd name="connsiteY1" fmla="*/ 0 h 342735"/>
              <a:gd name="connsiteX2" fmla="*/ 11107293 w 11107293"/>
              <a:gd name="connsiteY2" fmla="*/ 268602 h 342735"/>
              <a:gd name="connsiteX3" fmla="*/ 11107293 w 11107293"/>
              <a:gd name="connsiteY3" fmla="*/ 342735 h 342735"/>
              <a:gd name="connsiteX4" fmla="*/ 0 w 11107293"/>
              <a:gd name="connsiteY4" fmla="*/ 342735 h 342735"/>
              <a:gd name="connsiteX5" fmla="*/ 0 w 11107293"/>
              <a:gd name="connsiteY5" fmla="*/ 0 h 3427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107293" h="342735">
                <a:moveTo>
                  <a:pt x="0" y="0"/>
                </a:moveTo>
                <a:lnTo>
                  <a:pt x="10838690" y="0"/>
                </a:lnTo>
                <a:cubicBezTo>
                  <a:pt x="10986950" y="0"/>
                  <a:pt x="11107293" y="120207"/>
                  <a:pt x="11107293" y="268602"/>
                </a:cubicBezTo>
                <a:lnTo>
                  <a:pt x="11107293" y="342735"/>
                </a:lnTo>
                <a:lnTo>
                  <a:pt x="0" y="342735"/>
                </a:lnTo>
                <a:lnTo>
                  <a:pt x="0" y="0"/>
                </a:lnTo>
                <a:close/>
              </a:path>
            </a:pathLst>
          </a:custGeom>
          <a:solidFill>
            <a:srgbClr val="EDEEF0"/>
          </a:solidFill>
          <a:ln w="13549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AB0CA5B6-0010-4AB1-9FA2-C35050D68CC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392068" y="6602145"/>
            <a:ext cx="626225" cy="130532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FED90B10-7730-42EA-8805-FCB51371874A}"/>
              </a:ext>
            </a:extLst>
          </p:cNvPr>
          <p:cNvSpPr txBox="1"/>
          <p:nvPr userDrawn="1"/>
        </p:nvSpPr>
        <p:spPr>
          <a:xfrm>
            <a:off x="10437092" y="6567263"/>
            <a:ext cx="674254" cy="2616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fld id="{9CF728AB-3CFD-45BF-ABDE-FEDAF7F3D777}" type="slidenum">
              <a:rPr lang="en-US" sz="1100" smtClean="0">
                <a:solidFill>
                  <a:schemeClr val="bg1">
                    <a:lumMod val="50000"/>
                  </a:schemeClr>
                </a:solidFill>
              </a:rPr>
              <a:pPr algn="ctr"/>
              <a:t>‹#›</a:t>
            </a:fld>
            <a:endParaRPr lang="en-US" sz="110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081097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34B2CB-C566-4823-AC93-423B711676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2852" y="294639"/>
            <a:ext cx="11535947" cy="54927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BC4621D-7B60-441D-B4B1-DE9D87E987E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2852" y="1034473"/>
            <a:ext cx="11535947" cy="5449454"/>
          </a:xfrm>
        </p:spPr>
        <p:txBody>
          <a:bodyPr/>
          <a:lstStyle>
            <a:lvl2pPr marL="800100" indent="-342900">
              <a:buFont typeface="Courier New" panose="02070309020205020404" pitchFamily="49" charset="0"/>
              <a:buChar char="o"/>
              <a:defRPr/>
            </a:lvl2pPr>
            <a:lvl3pPr marL="1200150" indent="-285750">
              <a:buFont typeface="Arial" panose="020B0604020202020204" pitchFamily="34" charset="0"/>
              <a:buChar char="–"/>
              <a:defRPr/>
            </a:lvl3pPr>
            <a:lvl4pPr marL="1543050" indent="-171450">
              <a:buFont typeface="Arial" panose="020B0604020202020204" pitchFamily="34" charset="0"/>
              <a:buChar char="•"/>
              <a:defRPr/>
            </a:lvl4pPr>
            <a:lvl5pPr marL="2000250" indent="-17145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9048162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_Text_No­_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g object 16">
            <a:extLst>
              <a:ext uri="{FF2B5EF4-FFF2-40B4-BE49-F238E27FC236}">
                <a16:creationId xmlns:a16="http://schemas.microsoft.com/office/drawing/2014/main" id="{38E2B227-9F26-4269-ABB9-1B17EB26B64A}"/>
              </a:ext>
            </a:extLst>
          </p:cNvPr>
          <p:cNvSpPr/>
          <p:nvPr userDrawn="1"/>
        </p:nvSpPr>
        <p:spPr>
          <a:xfrm>
            <a:off x="224468" y="226800"/>
            <a:ext cx="680720" cy="680720"/>
          </a:xfrm>
          <a:custGeom>
            <a:avLst/>
            <a:gdLst/>
            <a:ahLst/>
            <a:cxnLst/>
            <a:rect l="l" t="t" r="r" b="b"/>
            <a:pathLst>
              <a:path w="680719" h="680719">
                <a:moveTo>
                  <a:pt x="335838" y="0"/>
                </a:moveTo>
                <a:lnTo>
                  <a:pt x="286209" y="3641"/>
                </a:lnTo>
                <a:lnTo>
                  <a:pt x="238842" y="14220"/>
                </a:lnTo>
                <a:lnTo>
                  <a:pt x="194255" y="31217"/>
                </a:lnTo>
                <a:lnTo>
                  <a:pt x="152968" y="54111"/>
                </a:lnTo>
                <a:lnTo>
                  <a:pt x="115501" y="82383"/>
                </a:lnTo>
                <a:lnTo>
                  <a:pt x="82373" y="115514"/>
                </a:lnTo>
                <a:lnTo>
                  <a:pt x="54104" y="152983"/>
                </a:lnTo>
                <a:lnTo>
                  <a:pt x="31212" y="194271"/>
                </a:lnTo>
                <a:lnTo>
                  <a:pt x="14218" y="238858"/>
                </a:lnTo>
                <a:lnTo>
                  <a:pt x="3641" y="286225"/>
                </a:lnTo>
                <a:lnTo>
                  <a:pt x="0" y="335851"/>
                </a:lnTo>
                <a:lnTo>
                  <a:pt x="0" y="339915"/>
                </a:lnTo>
                <a:lnTo>
                  <a:pt x="3106" y="386099"/>
                </a:lnTo>
                <a:lnTo>
                  <a:pt x="12157" y="430393"/>
                </a:lnTo>
                <a:lnTo>
                  <a:pt x="26745" y="472393"/>
                </a:lnTo>
                <a:lnTo>
                  <a:pt x="46465" y="511693"/>
                </a:lnTo>
                <a:lnTo>
                  <a:pt x="70912" y="547888"/>
                </a:lnTo>
                <a:lnTo>
                  <a:pt x="99680" y="580572"/>
                </a:lnTo>
                <a:lnTo>
                  <a:pt x="132364" y="609340"/>
                </a:lnTo>
                <a:lnTo>
                  <a:pt x="168558" y="633786"/>
                </a:lnTo>
                <a:lnTo>
                  <a:pt x="207856" y="653506"/>
                </a:lnTo>
                <a:lnTo>
                  <a:pt x="249853" y="668093"/>
                </a:lnTo>
                <a:lnTo>
                  <a:pt x="294143" y="677143"/>
                </a:lnTo>
                <a:lnTo>
                  <a:pt x="340321" y="680250"/>
                </a:lnTo>
                <a:lnTo>
                  <a:pt x="680237" y="680250"/>
                </a:lnTo>
                <a:lnTo>
                  <a:pt x="680237" y="344398"/>
                </a:lnTo>
                <a:lnTo>
                  <a:pt x="677093" y="297665"/>
                </a:lnTo>
                <a:lnTo>
                  <a:pt x="667935" y="252843"/>
                </a:lnTo>
                <a:lnTo>
                  <a:pt x="653173" y="210342"/>
                </a:lnTo>
                <a:lnTo>
                  <a:pt x="633217" y="170573"/>
                </a:lnTo>
                <a:lnTo>
                  <a:pt x="608478" y="133946"/>
                </a:lnTo>
                <a:lnTo>
                  <a:pt x="579366" y="100871"/>
                </a:lnTo>
                <a:lnTo>
                  <a:pt x="546291" y="71759"/>
                </a:lnTo>
                <a:lnTo>
                  <a:pt x="509664" y="47020"/>
                </a:lnTo>
                <a:lnTo>
                  <a:pt x="469895" y="27064"/>
                </a:lnTo>
                <a:lnTo>
                  <a:pt x="427394" y="12302"/>
                </a:lnTo>
                <a:lnTo>
                  <a:pt x="382572" y="3143"/>
                </a:lnTo>
                <a:lnTo>
                  <a:pt x="335838" y="0"/>
                </a:lnTo>
                <a:close/>
              </a:path>
            </a:pathLst>
          </a:custGeom>
          <a:solidFill>
            <a:srgbClr val="D1D4D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F34B2CB-C566-4823-AC93-423B711676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2852" y="294639"/>
            <a:ext cx="11535947" cy="54927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BC4621D-7B60-441D-B4B1-DE9D87E987E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2852" y="1034473"/>
            <a:ext cx="11535947" cy="5695936"/>
          </a:xfrm>
        </p:spPr>
        <p:txBody>
          <a:bodyPr/>
          <a:lstStyle>
            <a:lvl2pPr marL="800100" indent="-342900">
              <a:buFont typeface="Courier New" panose="02070309020205020404" pitchFamily="49" charset="0"/>
              <a:buChar char="o"/>
              <a:defRPr/>
            </a:lvl2pPr>
            <a:lvl3pPr marL="1200150" indent="-285750">
              <a:buFont typeface="Arial" panose="020B0604020202020204" pitchFamily="34" charset="0"/>
              <a:buChar char="–"/>
              <a:defRPr/>
            </a:lvl3pPr>
            <a:lvl4pPr marL="1543050" indent="-171450">
              <a:buFont typeface="Arial" panose="020B0604020202020204" pitchFamily="34" charset="0"/>
              <a:buChar char="•"/>
              <a:defRPr/>
            </a:lvl4pPr>
            <a:lvl5pPr marL="2000250" indent="-17145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347744D-6DA1-9174-E83A-5E3EF68E50B2}"/>
              </a:ext>
            </a:extLst>
          </p:cNvPr>
          <p:cNvSpPr txBox="1"/>
          <p:nvPr userDrawn="1"/>
        </p:nvSpPr>
        <p:spPr>
          <a:xfrm>
            <a:off x="11513417" y="6567263"/>
            <a:ext cx="674254" cy="2616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fld id="{9CF728AB-3CFD-45BF-ABDE-FEDAF7F3D777}" type="slidenum">
              <a:rPr lang="en-US" sz="1100" smtClean="0">
                <a:solidFill>
                  <a:schemeClr val="bg1">
                    <a:lumMod val="50000"/>
                  </a:schemeClr>
                </a:solidFill>
              </a:rPr>
              <a:pPr algn="ctr"/>
              <a:t>‹#›</a:t>
            </a:fld>
            <a:endParaRPr lang="en-US" sz="110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171762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E7E67A5E-23F8-4802-8327-4CBC45C271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2852" y="294639"/>
            <a:ext cx="11637548" cy="549275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37907376"/>
      </p:ext>
    </p:extLst>
  </p:cSld>
  <p:clrMapOvr>
    <a:masterClrMapping/>
  </p:clrMapOvr>
  <p:hf sldNum="0"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_White_No_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g object 16">
            <a:extLst>
              <a:ext uri="{FF2B5EF4-FFF2-40B4-BE49-F238E27FC236}">
                <a16:creationId xmlns:a16="http://schemas.microsoft.com/office/drawing/2014/main" id="{DDC193CD-2309-441C-AE1E-EA0162798559}"/>
              </a:ext>
            </a:extLst>
          </p:cNvPr>
          <p:cNvSpPr/>
          <p:nvPr userDrawn="1"/>
        </p:nvSpPr>
        <p:spPr>
          <a:xfrm>
            <a:off x="224468" y="226800"/>
            <a:ext cx="680720" cy="680720"/>
          </a:xfrm>
          <a:custGeom>
            <a:avLst/>
            <a:gdLst/>
            <a:ahLst/>
            <a:cxnLst/>
            <a:rect l="l" t="t" r="r" b="b"/>
            <a:pathLst>
              <a:path w="680719" h="680719">
                <a:moveTo>
                  <a:pt x="335838" y="0"/>
                </a:moveTo>
                <a:lnTo>
                  <a:pt x="286209" y="3641"/>
                </a:lnTo>
                <a:lnTo>
                  <a:pt x="238842" y="14220"/>
                </a:lnTo>
                <a:lnTo>
                  <a:pt x="194255" y="31217"/>
                </a:lnTo>
                <a:lnTo>
                  <a:pt x="152968" y="54111"/>
                </a:lnTo>
                <a:lnTo>
                  <a:pt x="115501" y="82383"/>
                </a:lnTo>
                <a:lnTo>
                  <a:pt x="82373" y="115514"/>
                </a:lnTo>
                <a:lnTo>
                  <a:pt x="54104" y="152983"/>
                </a:lnTo>
                <a:lnTo>
                  <a:pt x="31212" y="194271"/>
                </a:lnTo>
                <a:lnTo>
                  <a:pt x="14218" y="238858"/>
                </a:lnTo>
                <a:lnTo>
                  <a:pt x="3641" y="286225"/>
                </a:lnTo>
                <a:lnTo>
                  <a:pt x="0" y="335851"/>
                </a:lnTo>
                <a:lnTo>
                  <a:pt x="0" y="339915"/>
                </a:lnTo>
                <a:lnTo>
                  <a:pt x="3106" y="386099"/>
                </a:lnTo>
                <a:lnTo>
                  <a:pt x="12157" y="430393"/>
                </a:lnTo>
                <a:lnTo>
                  <a:pt x="26745" y="472393"/>
                </a:lnTo>
                <a:lnTo>
                  <a:pt x="46465" y="511693"/>
                </a:lnTo>
                <a:lnTo>
                  <a:pt x="70912" y="547888"/>
                </a:lnTo>
                <a:lnTo>
                  <a:pt x="99680" y="580572"/>
                </a:lnTo>
                <a:lnTo>
                  <a:pt x="132364" y="609340"/>
                </a:lnTo>
                <a:lnTo>
                  <a:pt x="168558" y="633786"/>
                </a:lnTo>
                <a:lnTo>
                  <a:pt x="207856" y="653506"/>
                </a:lnTo>
                <a:lnTo>
                  <a:pt x="249853" y="668093"/>
                </a:lnTo>
                <a:lnTo>
                  <a:pt x="294143" y="677143"/>
                </a:lnTo>
                <a:lnTo>
                  <a:pt x="340321" y="680250"/>
                </a:lnTo>
                <a:lnTo>
                  <a:pt x="680237" y="680250"/>
                </a:lnTo>
                <a:lnTo>
                  <a:pt x="680237" y="344398"/>
                </a:lnTo>
                <a:lnTo>
                  <a:pt x="677093" y="297665"/>
                </a:lnTo>
                <a:lnTo>
                  <a:pt x="667935" y="252843"/>
                </a:lnTo>
                <a:lnTo>
                  <a:pt x="653173" y="210342"/>
                </a:lnTo>
                <a:lnTo>
                  <a:pt x="633217" y="170573"/>
                </a:lnTo>
                <a:lnTo>
                  <a:pt x="608478" y="133946"/>
                </a:lnTo>
                <a:lnTo>
                  <a:pt x="579366" y="100871"/>
                </a:lnTo>
                <a:lnTo>
                  <a:pt x="546291" y="71759"/>
                </a:lnTo>
                <a:lnTo>
                  <a:pt x="509664" y="47020"/>
                </a:lnTo>
                <a:lnTo>
                  <a:pt x="469895" y="27064"/>
                </a:lnTo>
                <a:lnTo>
                  <a:pt x="427394" y="12302"/>
                </a:lnTo>
                <a:lnTo>
                  <a:pt x="382572" y="3143"/>
                </a:lnTo>
                <a:lnTo>
                  <a:pt x="335838" y="0"/>
                </a:lnTo>
                <a:close/>
              </a:path>
            </a:pathLst>
          </a:custGeom>
          <a:solidFill>
            <a:srgbClr val="D1D4D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E7E67A5E-23F8-4802-8327-4CBC45C271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2852" y="294639"/>
            <a:ext cx="11637548" cy="549275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A6A2E7F-8A11-6EA2-F5AA-6D9615F325A2}"/>
              </a:ext>
            </a:extLst>
          </p:cNvPr>
          <p:cNvSpPr txBox="1"/>
          <p:nvPr userDrawn="1"/>
        </p:nvSpPr>
        <p:spPr>
          <a:xfrm>
            <a:off x="11513417" y="6567263"/>
            <a:ext cx="674254" cy="2616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fld id="{9CF728AB-3CFD-45BF-ABDE-FEDAF7F3D777}" type="slidenum">
              <a:rPr lang="en-US" sz="1100" smtClean="0">
                <a:solidFill>
                  <a:schemeClr val="bg1">
                    <a:lumMod val="50000"/>
                  </a:schemeClr>
                </a:solidFill>
              </a:rPr>
              <a:pPr algn="ctr"/>
              <a:t>‹#›</a:t>
            </a:fld>
            <a:endParaRPr lang="en-US" sz="110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023339"/>
      </p:ext>
    </p:extLst>
  </p:cSld>
  <p:clrMapOvr>
    <a:masterClrMapping/>
  </p:clrMapOvr>
  <p:hf sldNum="0"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_High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g object 16">
            <a:extLst>
              <a:ext uri="{FF2B5EF4-FFF2-40B4-BE49-F238E27FC236}">
                <a16:creationId xmlns:a16="http://schemas.microsoft.com/office/drawing/2014/main" id="{DDC193CD-2309-441C-AE1E-EA0162798559}"/>
              </a:ext>
            </a:extLst>
          </p:cNvPr>
          <p:cNvSpPr/>
          <p:nvPr userDrawn="1"/>
        </p:nvSpPr>
        <p:spPr>
          <a:xfrm>
            <a:off x="224468" y="5129"/>
            <a:ext cx="680720" cy="680720"/>
          </a:xfrm>
          <a:custGeom>
            <a:avLst/>
            <a:gdLst/>
            <a:ahLst/>
            <a:cxnLst/>
            <a:rect l="l" t="t" r="r" b="b"/>
            <a:pathLst>
              <a:path w="680719" h="680719">
                <a:moveTo>
                  <a:pt x="335838" y="0"/>
                </a:moveTo>
                <a:lnTo>
                  <a:pt x="286209" y="3641"/>
                </a:lnTo>
                <a:lnTo>
                  <a:pt x="238842" y="14220"/>
                </a:lnTo>
                <a:lnTo>
                  <a:pt x="194255" y="31217"/>
                </a:lnTo>
                <a:lnTo>
                  <a:pt x="152968" y="54111"/>
                </a:lnTo>
                <a:lnTo>
                  <a:pt x="115501" y="82383"/>
                </a:lnTo>
                <a:lnTo>
                  <a:pt x="82373" y="115514"/>
                </a:lnTo>
                <a:lnTo>
                  <a:pt x="54104" y="152983"/>
                </a:lnTo>
                <a:lnTo>
                  <a:pt x="31212" y="194271"/>
                </a:lnTo>
                <a:lnTo>
                  <a:pt x="14218" y="238858"/>
                </a:lnTo>
                <a:lnTo>
                  <a:pt x="3641" y="286225"/>
                </a:lnTo>
                <a:lnTo>
                  <a:pt x="0" y="335851"/>
                </a:lnTo>
                <a:lnTo>
                  <a:pt x="0" y="339915"/>
                </a:lnTo>
                <a:lnTo>
                  <a:pt x="3106" y="386099"/>
                </a:lnTo>
                <a:lnTo>
                  <a:pt x="12157" y="430393"/>
                </a:lnTo>
                <a:lnTo>
                  <a:pt x="26745" y="472393"/>
                </a:lnTo>
                <a:lnTo>
                  <a:pt x="46465" y="511693"/>
                </a:lnTo>
                <a:lnTo>
                  <a:pt x="70912" y="547888"/>
                </a:lnTo>
                <a:lnTo>
                  <a:pt x="99680" y="580572"/>
                </a:lnTo>
                <a:lnTo>
                  <a:pt x="132364" y="609340"/>
                </a:lnTo>
                <a:lnTo>
                  <a:pt x="168558" y="633786"/>
                </a:lnTo>
                <a:lnTo>
                  <a:pt x="207856" y="653506"/>
                </a:lnTo>
                <a:lnTo>
                  <a:pt x="249853" y="668093"/>
                </a:lnTo>
                <a:lnTo>
                  <a:pt x="294143" y="677143"/>
                </a:lnTo>
                <a:lnTo>
                  <a:pt x="340321" y="680250"/>
                </a:lnTo>
                <a:lnTo>
                  <a:pt x="680237" y="680250"/>
                </a:lnTo>
                <a:lnTo>
                  <a:pt x="680237" y="344398"/>
                </a:lnTo>
                <a:lnTo>
                  <a:pt x="677093" y="297665"/>
                </a:lnTo>
                <a:lnTo>
                  <a:pt x="667935" y="252843"/>
                </a:lnTo>
                <a:lnTo>
                  <a:pt x="653173" y="210342"/>
                </a:lnTo>
                <a:lnTo>
                  <a:pt x="633217" y="170573"/>
                </a:lnTo>
                <a:lnTo>
                  <a:pt x="608478" y="133946"/>
                </a:lnTo>
                <a:lnTo>
                  <a:pt x="579366" y="100871"/>
                </a:lnTo>
                <a:lnTo>
                  <a:pt x="546291" y="71759"/>
                </a:lnTo>
                <a:lnTo>
                  <a:pt x="509664" y="47020"/>
                </a:lnTo>
                <a:lnTo>
                  <a:pt x="469895" y="27064"/>
                </a:lnTo>
                <a:lnTo>
                  <a:pt x="427394" y="12302"/>
                </a:lnTo>
                <a:lnTo>
                  <a:pt x="382572" y="3143"/>
                </a:lnTo>
                <a:lnTo>
                  <a:pt x="335838" y="0"/>
                </a:lnTo>
                <a:close/>
              </a:path>
            </a:pathLst>
          </a:custGeom>
          <a:solidFill>
            <a:srgbClr val="D1D4D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E7E67A5E-23F8-4802-8327-4CBC45C271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2852" y="72968"/>
            <a:ext cx="11637548" cy="549275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066EDF5-70F5-0FE8-46A8-8B4F770EB6CD}"/>
              </a:ext>
            </a:extLst>
          </p:cNvPr>
          <p:cNvSpPr txBox="1"/>
          <p:nvPr userDrawn="1"/>
        </p:nvSpPr>
        <p:spPr>
          <a:xfrm>
            <a:off x="11513417" y="6567263"/>
            <a:ext cx="674254" cy="2616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fld id="{9CF728AB-3CFD-45BF-ABDE-FEDAF7F3D777}" type="slidenum">
              <a:rPr lang="en-US" sz="1100" smtClean="0">
                <a:solidFill>
                  <a:schemeClr val="bg1">
                    <a:lumMod val="50000"/>
                  </a:schemeClr>
                </a:solidFill>
              </a:rPr>
              <a:pPr algn="ctr"/>
              <a:t>‹#›</a:t>
            </a:fld>
            <a:endParaRPr lang="en-US" sz="110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9776675"/>
      </p:ext>
    </p:extLst>
  </p:cSld>
  <p:clrMapOvr>
    <a:masterClrMapping/>
  </p:clrMapOvr>
  <p:hf sldNum="0"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sv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theme" Target="../theme/theme2.xml"/><Relationship Id="rId11" Type="http://schemas.openxmlformats.org/officeDocument/2006/relationships/image" Target="../media/image6.png"/><Relationship Id="rId5" Type="http://schemas.openxmlformats.org/officeDocument/2006/relationships/slideLayout" Target="../slideLayouts/slideLayout15.xml"/><Relationship Id="rId10" Type="http://schemas.openxmlformats.org/officeDocument/2006/relationships/image" Target="../media/image10.svg"/><Relationship Id="rId4" Type="http://schemas.openxmlformats.org/officeDocument/2006/relationships/slideLayout" Target="../slideLayouts/slideLayout14.xml"/><Relationship Id="rId9" Type="http://schemas.openxmlformats.org/officeDocument/2006/relationships/image" Target="../media/image5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18.xml"/><Relationship Id="rId7" Type="http://schemas.openxmlformats.org/officeDocument/2006/relationships/tags" Target="../tags/tag1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3.xml"/><Relationship Id="rId4" Type="http://schemas.openxmlformats.org/officeDocument/2006/relationships/slideLayout" Target="../slideLayouts/slideLayout19.xml"/><Relationship Id="rId9" Type="http://schemas.openxmlformats.org/officeDocument/2006/relationships/image" Target="../media/image13.emf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heme" Target="../theme/theme4.xml"/><Relationship Id="rId7" Type="http://schemas.openxmlformats.org/officeDocument/2006/relationships/image" Target="../media/image13.emf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oleObject" Target="../embeddings/oleObject2.bin"/><Relationship Id="rId5" Type="http://schemas.openxmlformats.org/officeDocument/2006/relationships/tags" Target="../tags/tag2.xml"/><Relationship Id="rId4" Type="http://schemas.openxmlformats.org/officeDocument/2006/relationships/vmlDrawing" Target="../drawings/vmlDrawing2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g object 16">
            <a:extLst>
              <a:ext uri="{FF2B5EF4-FFF2-40B4-BE49-F238E27FC236}">
                <a16:creationId xmlns:a16="http://schemas.microsoft.com/office/drawing/2014/main" id="{0169C6E2-B770-44F5-9E67-A5BEC9492ECF}"/>
              </a:ext>
            </a:extLst>
          </p:cNvPr>
          <p:cNvSpPr/>
          <p:nvPr userDrawn="1"/>
        </p:nvSpPr>
        <p:spPr>
          <a:xfrm>
            <a:off x="224468" y="226800"/>
            <a:ext cx="680720" cy="680720"/>
          </a:xfrm>
          <a:custGeom>
            <a:avLst/>
            <a:gdLst/>
            <a:ahLst/>
            <a:cxnLst/>
            <a:rect l="l" t="t" r="r" b="b"/>
            <a:pathLst>
              <a:path w="680719" h="680719">
                <a:moveTo>
                  <a:pt x="335838" y="0"/>
                </a:moveTo>
                <a:lnTo>
                  <a:pt x="286209" y="3641"/>
                </a:lnTo>
                <a:lnTo>
                  <a:pt x="238842" y="14220"/>
                </a:lnTo>
                <a:lnTo>
                  <a:pt x="194255" y="31217"/>
                </a:lnTo>
                <a:lnTo>
                  <a:pt x="152968" y="54111"/>
                </a:lnTo>
                <a:lnTo>
                  <a:pt x="115501" y="82383"/>
                </a:lnTo>
                <a:lnTo>
                  <a:pt x="82373" y="115514"/>
                </a:lnTo>
                <a:lnTo>
                  <a:pt x="54104" y="152983"/>
                </a:lnTo>
                <a:lnTo>
                  <a:pt x="31212" y="194271"/>
                </a:lnTo>
                <a:lnTo>
                  <a:pt x="14218" y="238858"/>
                </a:lnTo>
                <a:lnTo>
                  <a:pt x="3641" y="286225"/>
                </a:lnTo>
                <a:lnTo>
                  <a:pt x="0" y="335851"/>
                </a:lnTo>
                <a:lnTo>
                  <a:pt x="0" y="339915"/>
                </a:lnTo>
                <a:lnTo>
                  <a:pt x="3106" y="386099"/>
                </a:lnTo>
                <a:lnTo>
                  <a:pt x="12157" y="430393"/>
                </a:lnTo>
                <a:lnTo>
                  <a:pt x="26745" y="472393"/>
                </a:lnTo>
                <a:lnTo>
                  <a:pt x="46465" y="511693"/>
                </a:lnTo>
                <a:lnTo>
                  <a:pt x="70912" y="547888"/>
                </a:lnTo>
                <a:lnTo>
                  <a:pt x="99680" y="580572"/>
                </a:lnTo>
                <a:lnTo>
                  <a:pt x="132364" y="609340"/>
                </a:lnTo>
                <a:lnTo>
                  <a:pt x="168558" y="633786"/>
                </a:lnTo>
                <a:lnTo>
                  <a:pt x="207856" y="653506"/>
                </a:lnTo>
                <a:lnTo>
                  <a:pt x="249853" y="668093"/>
                </a:lnTo>
                <a:lnTo>
                  <a:pt x="294143" y="677143"/>
                </a:lnTo>
                <a:lnTo>
                  <a:pt x="340321" y="680250"/>
                </a:lnTo>
                <a:lnTo>
                  <a:pt x="680237" y="680250"/>
                </a:lnTo>
                <a:lnTo>
                  <a:pt x="680237" y="344398"/>
                </a:lnTo>
                <a:lnTo>
                  <a:pt x="677093" y="297665"/>
                </a:lnTo>
                <a:lnTo>
                  <a:pt x="667935" y="252843"/>
                </a:lnTo>
                <a:lnTo>
                  <a:pt x="653173" y="210342"/>
                </a:lnTo>
                <a:lnTo>
                  <a:pt x="633217" y="170573"/>
                </a:lnTo>
                <a:lnTo>
                  <a:pt x="608478" y="133946"/>
                </a:lnTo>
                <a:lnTo>
                  <a:pt x="579366" y="100871"/>
                </a:lnTo>
                <a:lnTo>
                  <a:pt x="546291" y="71759"/>
                </a:lnTo>
                <a:lnTo>
                  <a:pt x="509664" y="47020"/>
                </a:lnTo>
                <a:lnTo>
                  <a:pt x="469895" y="27064"/>
                </a:lnTo>
                <a:lnTo>
                  <a:pt x="427394" y="12302"/>
                </a:lnTo>
                <a:lnTo>
                  <a:pt x="382572" y="3143"/>
                </a:lnTo>
                <a:lnTo>
                  <a:pt x="335838" y="0"/>
                </a:lnTo>
                <a:close/>
              </a:path>
            </a:pathLst>
          </a:custGeom>
          <a:solidFill>
            <a:srgbClr val="D1D4D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B40927A7-7A0C-45CE-B38F-6D858B2E46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2852" y="294639"/>
            <a:ext cx="11565441" cy="549275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B0430C2B-7B64-49F8-81DD-F900626B5EFA}"/>
              </a:ext>
            </a:extLst>
          </p:cNvPr>
          <p:cNvSpPr/>
          <p:nvPr userDrawn="1"/>
        </p:nvSpPr>
        <p:spPr>
          <a:xfrm>
            <a:off x="11106343" y="6515266"/>
            <a:ext cx="1085657" cy="365604"/>
          </a:xfrm>
          <a:custGeom>
            <a:avLst/>
            <a:gdLst>
              <a:gd name="connsiteX0" fmla="*/ 273887 w 1085657"/>
              <a:gd name="connsiteY0" fmla="*/ 0 h 365604"/>
              <a:gd name="connsiteX1" fmla="*/ 1085657 w 1085657"/>
              <a:gd name="connsiteY1" fmla="*/ 0 h 365604"/>
              <a:gd name="connsiteX2" fmla="*/ 1085657 w 1085657"/>
              <a:gd name="connsiteY2" fmla="*/ 342734 h 365604"/>
              <a:gd name="connsiteX3" fmla="*/ 950 w 1085657"/>
              <a:gd name="connsiteY3" fmla="*/ 342734 h 365604"/>
              <a:gd name="connsiteX4" fmla="*/ 950 w 1085657"/>
              <a:gd name="connsiteY4" fmla="*/ 365604 h 365604"/>
              <a:gd name="connsiteX5" fmla="*/ 0 w 1085657"/>
              <a:gd name="connsiteY5" fmla="*/ 365604 h 365604"/>
              <a:gd name="connsiteX6" fmla="*/ 0 w 1085657"/>
              <a:gd name="connsiteY6" fmla="*/ 273887 h 365604"/>
              <a:gd name="connsiteX7" fmla="*/ 273887 w 1085657"/>
              <a:gd name="connsiteY7" fmla="*/ 0 h 3656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85657" h="365604">
                <a:moveTo>
                  <a:pt x="273887" y="0"/>
                </a:moveTo>
                <a:lnTo>
                  <a:pt x="1085657" y="0"/>
                </a:lnTo>
                <a:lnTo>
                  <a:pt x="1085657" y="342734"/>
                </a:lnTo>
                <a:lnTo>
                  <a:pt x="950" y="342734"/>
                </a:lnTo>
                <a:lnTo>
                  <a:pt x="950" y="365604"/>
                </a:lnTo>
                <a:lnTo>
                  <a:pt x="0" y="365604"/>
                </a:lnTo>
                <a:lnTo>
                  <a:pt x="0" y="273887"/>
                </a:lnTo>
                <a:cubicBezTo>
                  <a:pt x="0" y="122646"/>
                  <a:pt x="122646" y="0"/>
                  <a:pt x="273887" y="0"/>
                </a:cubicBezTo>
                <a:close/>
              </a:path>
            </a:pathLst>
          </a:custGeom>
          <a:solidFill>
            <a:srgbClr val="EDEEF0"/>
          </a:solidFill>
          <a:ln w="13549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1BE4BF21-AB5A-4944-91CA-0FA9411B73AE}"/>
              </a:ext>
            </a:extLst>
          </p:cNvPr>
          <p:cNvSpPr/>
          <p:nvPr userDrawn="1"/>
        </p:nvSpPr>
        <p:spPr>
          <a:xfrm>
            <a:off x="1" y="6515266"/>
            <a:ext cx="11107293" cy="342735"/>
          </a:xfrm>
          <a:custGeom>
            <a:avLst/>
            <a:gdLst>
              <a:gd name="connsiteX0" fmla="*/ 0 w 11107293"/>
              <a:gd name="connsiteY0" fmla="*/ 0 h 342735"/>
              <a:gd name="connsiteX1" fmla="*/ 10838690 w 11107293"/>
              <a:gd name="connsiteY1" fmla="*/ 0 h 342735"/>
              <a:gd name="connsiteX2" fmla="*/ 11107293 w 11107293"/>
              <a:gd name="connsiteY2" fmla="*/ 268602 h 342735"/>
              <a:gd name="connsiteX3" fmla="*/ 11107293 w 11107293"/>
              <a:gd name="connsiteY3" fmla="*/ 342735 h 342735"/>
              <a:gd name="connsiteX4" fmla="*/ 0 w 11107293"/>
              <a:gd name="connsiteY4" fmla="*/ 342735 h 342735"/>
              <a:gd name="connsiteX5" fmla="*/ 0 w 11107293"/>
              <a:gd name="connsiteY5" fmla="*/ 0 h 3427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107293" h="342735">
                <a:moveTo>
                  <a:pt x="0" y="0"/>
                </a:moveTo>
                <a:lnTo>
                  <a:pt x="10838690" y="0"/>
                </a:lnTo>
                <a:cubicBezTo>
                  <a:pt x="10986950" y="0"/>
                  <a:pt x="11107293" y="120207"/>
                  <a:pt x="11107293" y="268602"/>
                </a:cubicBezTo>
                <a:lnTo>
                  <a:pt x="11107293" y="342735"/>
                </a:lnTo>
                <a:lnTo>
                  <a:pt x="0" y="342735"/>
                </a:lnTo>
                <a:lnTo>
                  <a:pt x="0" y="0"/>
                </a:lnTo>
                <a:close/>
              </a:path>
            </a:pathLst>
          </a:custGeom>
          <a:solidFill>
            <a:srgbClr val="EDEEF0"/>
          </a:solidFill>
          <a:ln w="13549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6B256354-C003-4D58-8233-4CB2BCC8B7C0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1392068" y="6602145"/>
            <a:ext cx="626225" cy="130532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9315BCE4-D35B-49B3-8D8F-6E5360F8FBAD}"/>
              </a:ext>
            </a:extLst>
          </p:cNvPr>
          <p:cNvSpPr txBox="1"/>
          <p:nvPr userDrawn="1"/>
        </p:nvSpPr>
        <p:spPr>
          <a:xfrm>
            <a:off x="10437092" y="6567263"/>
            <a:ext cx="674254" cy="2616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fld id="{9CF728AB-3CFD-45BF-ABDE-FEDAF7F3D777}" type="slidenum">
              <a:rPr lang="en-US" sz="1100" smtClean="0">
                <a:solidFill>
                  <a:schemeClr val="bg1">
                    <a:lumMod val="50000"/>
                  </a:schemeClr>
                </a:solidFill>
              </a:rPr>
              <a:pPr algn="ctr"/>
              <a:t>‹#›</a:t>
            </a:fld>
            <a:endParaRPr lang="en-US" sz="11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6A3760A3-9146-428E-A4CA-C767294A69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2852" y="1089890"/>
            <a:ext cx="11565440" cy="536176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marL="895350" lvl="1" indent="-360363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Courier New" panose="02070309020205020404" pitchFamily="49" charset="0"/>
              <a:buChar char="o"/>
            </a:pPr>
            <a:r>
              <a:rPr lang="en-US"/>
              <a:t>Second level</a:t>
            </a:r>
          </a:p>
          <a:p>
            <a:pPr marL="1200150" lvl="2" indent="-28575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–"/>
            </a:pPr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146254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0" r:id="rId1"/>
    <p:sldLayoutId id="2147483761" r:id="rId2"/>
    <p:sldLayoutId id="2147483762" r:id="rId3"/>
    <p:sldLayoutId id="2147483763" r:id="rId4"/>
    <p:sldLayoutId id="2147483764" r:id="rId5"/>
    <p:sldLayoutId id="2147483765" r:id="rId6"/>
    <p:sldLayoutId id="2147483766" r:id="rId7"/>
    <p:sldLayoutId id="2147483767" r:id="rId8"/>
    <p:sldLayoutId id="2147483768" r:id="rId9"/>
    <p:sldLayoutId id="2147483769" r:id="rId10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360363" indent="-360363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Tx/>
        <a:buBlip>
          <a:blip r:embed="rId14"/>
        </a:buBlip>
        <a:defRPr lang="en-US" sz="2400" kern="1200" dirty="0">
          <a:solidFill>
            <a:schemeClr val="accent1"/>
          </a:solidFill>
          <a:latin typeface="+mn-lt"/>
          <a:ea typeface="+mn-ea"/>
          <a:cs typeface="+mn-cs"/>
        </a:defRPr>
      </a:lvl1pPr>
      <a:lvl2pPr marL="45720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lang="en-US" sz="2000" kern="1200" dirty="0">
          <a:solidFill>
            <a:schemeClr val="accent1"/>
          </a:solidFill>
          <a:latin typeface="+mn-lt"/>
          <a:ea typeface="+mn-ea"/>
          <a:cs typeface="+mn-cs"/>
        </a:defRPr>
      </a:lvl2pPr>
      <a:lvl3pPr marL="1200150" indent="-28575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lang="en-US" sz="1600" kern="1200" dirty="0">
          <a:solidFill>
            <a:schemeClr val="accent1"/>
          </a:solidFill>
          <a:latin typeface="+mn-lt"/>
          <a:ea typeface="+mn-ea"/>
          <a:cs typeface="+mn-cs"/>
        </a:defRPr>
      </a:lvl3pPr>
      <a:lvl4pPr marL="1657350" indent="-28575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lang="en-US" sz="1600" kern="1200" dirty="0">
          <a:solidFill>
            <a:schemeClr val="accent1"/>
          </a:solidFill>
          <a:latin typeface="+mn-lt"/>
          <a:ea typeface="+mn-ea"/>
          <a:cs typeface="+mn-cs"/>
        </a:defRPr>
      </a:lvl4pPr>
      <a:lvl5pPr marL="2114550" indent="-28575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lang="en-GB" sz="1600" kern="1200" dirty="0">
          <a:solidFill>
            <a:schemeClr val="accent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Graphic 23">
            <a:extLst>
              <a:ext uri="{FF2B5EF4-FFF2-40B4-BE49-F238E27FC236}">
                <a16:creationId xmlns:a16="http://schemas.microsoft.com/office/drawing/2014/main" id="{8994A9ED-0E3A-442B-AA22-77DF9EC493A1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 flipH="1">
            <a:off x="270862" y="267311"/>
            <a:ext cx="1058848" cy="1058848"/>
          </a:xfrm>
          <a:prstGeom prst="rect">
            <a:avLst/>
          </a:prstGeom>
        </p:spPr>
      </p:pic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161D6823-AFE9-4A49-87FE-5ACEEF1CD8E0}"/>
              </a:ext>
            </a:extLst>
          </p:cNvPr>
          <p:cNvSpPr/>
          <p:nvPr/>
        </p:nvSpPr>
        <p:spPr>
          <a:xfrm>
            <a:off x="1" y="6515266"/>
            <a:ext cx="11107293" cy="342735"/>
          </a:xfrm>
          <a:custGeom>
            <a:avLst/>
            <a:gdLst>
              <a:gd name="connsiteX0" fmla="*/ 0 w 11107293"/>
              <a:gd name="connsiteY0" fmla="*/ 0 h 342735"/>
              <a:gd name="connsiteX1" fmla="*/ 10838690 w 11107293"/>
              <a:gd name="connsiteY1" fmla="*/ 0 h 342735"/>
              <a:gd name="connsiteX2" fmla="*/ 11107293 w 11107293"/>
              <a:gd name="connsiteY2" fmla="*/ 268602 h 342735"/>
              <a:gd name="connsiteX3" fmla="*/ 11107293 w 11107293"/>
              <a:gd name="connsiteY3" fmla="*/ 342735 h 342735"/>
              <a:gd name="connsiteX4" fmla="*/ 0 w 11107293"/>
              <a:gd name="connsiteY4" fmla="*/ 342735 h 342735"/>
              <a:gd name="connsiteX5" fmla="*/ 0 w 11107293"/>
              <a:gd name="connsiteY5" fmla="*/ 0 h 3427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107293" h="342735">
                <a:moveTo>
                  <a:pt x="0" y="0"/>
                </a:moveTo>
                <a:lnTo>
                  <a:pt x="10838690" y="0"/>
                </a:lnTo>
                <a:cubicBezTo>
                  <a:pt x="10986950" y="0"/>
                  <a:pt x="11107293" y="120207"/>
                  <a:pt x="11107293" y="268602"/>
                </a:cubicBezTo>
                <a:lnTo>
                  <a:pt x="11107293" y="342735"/>
                </a:lnTo>
                <a:lnTo>
                  <a:pt x="0" y="342735"/>
                </a:lnTo>
                <a:lnTo>
                  <a:pt x="0" y="0"/>
                </a:lnTo>
                <a:close/>
              </a:path>
            </a:pathLst>
          </a:custGeom>
          <a:solidFill>
            <a:srgbClr val="EDEEF0"/>
          </a:solidFill>
          <a:ln w="13549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0DC9642D-2859-4AA7-942B-A73550BBB474}"/>
              </a:ext>
            </a:extLst>
          </p:cNvPr>
          <p:cNvSpPr/>
          <p:nvPr/>
        </p:nvSpPr>
        <p:spPr>
          <a:xfrm>
            <a:off x="11106343" y="6515266"/>
            <a:ext cx="1085657" cy="365604"/>
          </a:xfrm>
          <a:custGeom>
            <a:avLst/>
            <a:gdLst>
              <a:gd name="connsiteX0" fmla="*/ 273887 w 1085657"/>
              <a:gd name="connsiteY0" fmla="*/ 0 h 365604"/>
              <a:gd name="connsiteX1" fmla="*/ 1085657 w 1085657"/>
              <a:gd name="connsiteY1" fmla="*/ 0 h 365604"/>
              <a:gd name="connsiteX2" fmla="*/ 1085657 w 1085657"/>
              <a:gd name="connsiteY2" fmla="*/ 342734 h 365604"/>
              <a:gd name="connsiteX3" fmla="*/ 950 w 1085657"/>
              <a:gd name="connsiteY3" fmla="*/ 342734 h 365604"/>
              <a:gd name="connsiteX4" fmla="*/ 950 w 1085657"/>
              <a:gd name="connsiteY4" fmla="*/ 365604 h 365604"/>
              <a:gd name="connsiteX5" fmla="*/ 0 w 1085657"/>
              <a:gd name="connsiteY5" fmla="*/ 365604 h 365604"/>
              <a:gd name="connsiteX6" fmla="*/ 0 w 1085657"/>
              <a:gd name="connsiteY6" fmla="*/ 273887 h 365604"/>
              <a:gd name="connsiteX7" fmla="*/ 273887 w 1085657"/>
              <a:gd name="connsiteY7" fmla="*/ 0 h 3656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85657" h="365604">
                <a:moveTo>
                  <a:pt x="273887" y="0"/>
                </a:moveTo>
                <a:lnTo>
                  <a:pt x="1085657" y="0"/>
                </a:lnTo>
                <a:lnTo>
                  <a:pt x="1085657" y="342734"/>
                </a:lnTo>
                <a:lnTo>
                  <a:pt x="950" y="342734"/>
                </a:lnTo>
                <a:lnTo>
                  <a:pt x="950" y="365604"/>
                </a:lnTo>
                <a:lnTo>
                  <a:pt x="0" y="365604"/>
                </a:lnTo>
                <a:lnTo>
                  <a:pt x="0" y="273887"/>
                </a:lnTo>
                <a:cubicBezTo>
                  <a:pt x="0" y="122646"/>
                  <a:pt x="122646" y="0"/>
                  <a:pt x="273887" y="0"/>
                </a:cubicBezTo>
                <a:close/>
              </a:path>
            </a:pathLst>
          </a:custGeom>
          <a:solidFill>
            <a:srgbClr val="EDEEF0"/>
          </a:solidFill>
          <a:ln w="13549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95DE8AB-37AF-499F-97E2-17D9CE3DB8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2852" y="473549"/>
            <a:ext cx="9816909" cy="549275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BA7E4068-3BBC-45B6-897A-E4914C4DFF35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0"/>
              </a:ext>
            </a:extLst>
          </a:blip>
          <a:srcRect/>
          <a:stretch/>
        </p:blipFill>
        <p:spPr>
          <a:xfrm>
            <a:off x="11106343" y="267311"/>
            <a:ext cx="928539" cy="461959"/>
          </a:xfrm>
          <a:prstGeom prst="rect">
            <a:avLst/>
          </a:prstGeom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FDC8891-3B14-AE71-E20A-B07554F5512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1A515E0-F62B-0E32-0754-88E9EBDD057B}"/>
              </a:ext>
            </a:extLst>
          </p:cNvPr>
          <p:cNvSpPr txBox="1"/>
          <p:nvPr userDrawn="1"/>
        </p:nvSpPr>
        <p:spPr>
          <a:xfrm>
            <a:off x="10437092" y="6567263"/>
            <a:ext cx="674254" cy="2616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fld id="{9CF728AB-3CFD-45BF-ABDE-FEDAF7F3D777}" type="slidenum">
              <a:rPr lang="en-US" sz="1100" smtClean="0">
                <a:solidFill>
                  <a:schemeClr val="bg1">
                    <a:lumMod val="50000"/>
                  </a:schemeClr>
                </a:solidFill>
              </a:rPr>
              <a:pPr algn="ctr"/>
              <a:t>‹#›</a:t>
            </a:fld>
            <a:endParaRPr lang="en-US" sz="110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06914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3" r:id="rId1"/>
    <p:sldLayoutId id="2147483779" r:id="rId2"/>
    <p:sldLayoutId id="2147483790" r:id="rId3"/>
    <p:sldLayoutId id="2147483791" r:id="rId4"/>
    <p:sldLayoutId id="2147483803" r:id="rId5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Tx/>
        <a:buBlip>
          <a:blip r:embed="rId11"/>
        </a:buBlip>
        <a:defRPr sz="12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447675" indent="-1778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625475" indent="-17780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–"/>
        <a:defRPr sz="1100" kern="1200">
          <a:solidFill>
            <a:schemeClr val="tx1"/>
          </a:solidFill>
          <a:latin typeface="+mn-lt"/>
          <a:ea typeface="+mn-ea"/>
          <a:cs typeface="+mn-cs"/>
        </a:defRPr>
      </a:lvl3pPr>
      <a:lvl4pPr marL="812800" indent="-19050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–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990600" indent="-17780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–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3840">
          <p15:clr>
            <a:srgbClr val="F26B43"/>
          </p15:clr>
        </p15:guide>
        <p15:guide id="3" orient="horz" pos="3521">
          <p15:clr>
            <a:srgbClr val="F26B43"/>
          </p15:clr>
        </p15:guide>
        <p15:guide id="4" pos="6992">
          <p15:clr>
            <a:srgbClr val="F26B43"/>
          </p15:clr>
        </p15:guide>
        <p15:guide id="5" pos="347">
          <p15:clr>
            <a:srgbClr val="F26B43"/>
          </p15:clr>
        </p15:guide>
        <p15:guide id="6" pos="665">
          <p15:clr>
            <a:srgbClr val="F26B43"/>
          </p15:clr>
        </p15:guide>
        <p15:guide id="7" orient="horz" pos="346">
          <p15:clr>
            <a:srgbClr val="F26B43"/>
          </p15:clr>
        </p15:guide>
        <p15:guide id="9" orient="horz" pos="935">
          <p15:clr>
            <a:srgbClr val="F26B43"/>
          </p15:clr>
        </p15:guide>
        <p15:guide id="10" pos="597">
          <p15:clr>
            <a:srgbClr val="F26B43"/>
          </p15:clr>
        </p15:guide>
        <p15:guide id="11" orient="horz" pos="1003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1" name="think-cell Slide" r:id="rId8" imgW="473" imgH="473" progId="TCLayout.ActiveDocument.1">
                  <p:embed/>
                </p:oleObj>
              </mc:Choice>
              <mc:Fallback>
                <p:oleObj name="think-cell Slide" r:id="rId8" imgW="473" imgH="47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946249" y="6642855"/>
            <a:ext cx="245751" cy="225709"/>
          </a:xfrm>
          <a:prstGeom prst="rect">
            <a:avLst/>
          </a:prstGeom>
          <a:ln w="12700">
            <a:miter lim="400000"/>
          </a:ln>
        </p:spPr>
        <p:txBody>
          <a:bodyPr wrap="none" lIns="45719" rIns="45719">
            <a:spAutoFit/>
          </a:bodyPr>
          <a:lstStyle>
            <a:lvl1pPr>
              <a:defRPr sz="1100">
                <a:solidFill>
                  <a:srgbClr val="92929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sz="1100" b="0" i="0" u="none" strike="noStrike" kern="1200" cap="none" spc="0" normalizeH="0" baseline="0" noProof="0">
                <a:ln>
                  <a:noFill/>
                </a:ln>
                <a:solidFill>
                  <a:srgbClr val="929292"/>
                </a:solidFill>
                <a:effectLst/>
                <a:uLnTx/>
                <a:uFillTx/>
                <a:latin typeface="Calibri"/>
                <a:cs typeface="Calibri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sz="1100" b="0" i="0" u="none" strike="noStrike" kern="1200" cap="none" spc="0" normalizeH="0" baseline="0" noProof="0" dirty="0">
              <a:ln>
                <a:noFill/>
              </a:ln>
              <a:solidFill>
                <a:srgbClr val="929292"/>
              </a:solidFill>
              <a:effectLst/>
              <a:uLnTx/>
              <a:uFillTx/>
              <a:latin typeface="Calibri"/>
              <a:cs typeface="Calibri"/>
            </a:endParaRPr>
          </a:p>
        </p:txBody>
      </p:sp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ACB1658E-5C68-CB43-BACB-788A5B6410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0000" y="447188"/>
            <a:ext cx="10571998" cy="970450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9DDF0C4F-9045-3548-9802-128CB5B0C29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18713" y="1906476"/>
            <a:ext cx="10563285" cy="3674397"/>
          </a:xfrm>
          <a:prstGeom prst="rect">
            <a:avLst/>
          </a:prstGeom>
          <a:effectLst/>
        </p:spPr>
        <p:txBody>
          <a:bodyPr vert="horz" lIns="91440" tIns="45720" rIns="91440" bIns="45720" rtlCol="0" anchor="t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Date Placeholder 3">
            <a:extLst>
              <a:ext uri="{FF2B5EF4-FFF2-40B4-BE49-F238E27FC236}">
                <a16:creationId xmlns:a16="http://schemas.microsoft.com/office/drawing/2014/main" id="{82CF39F0-44BA-E647-AA99-658BDDE798D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771467" y="749850"/>
            <a:ext cx="2351122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AC1B52D-7485-264C-B4F3-6A96EBB94E64}" type="datetime3">
              <a:rPr kumimoji="0" lang="en-IN" sz="20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alibri"/>
                <a:cs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 September 2022</a:t>
            </a:fld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Calibri"/>
              <a:cs typeface="Calibri"/>
            </a:endParaRP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A307519A-E37F-4748-9265-06035F60EDA4}"/>
              </a:ext>
            </a:extLst>
          </p:cNvPr>
          <p:cNvSpPr/>
          <p:nvPr userDrawn="1"/>
        </p:nvSpPr>
        <p:spPr>
          <a:xfrm>
            <a:off x="-786211" y="1806220"/>
            <a:ext cx="251011" cy="251011"/>
          </a:xfrm>
          <a:prstGeom prst="ellipse">
            <a:avLst/>
          </a:prstGeom>
          <a:solidFill>
            <a:srgbClr val="1B48B6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  <a:sym typeface="Calibri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3401688B-5BBF-494D-A11B-601370B2C360}"/>
              </a:ext>
            </a:extLst>
          </p:cNvPr>
          <p:cNvSpPr/>
          <p:nvPr userDrawn="1"/>
        </p:nvSpPr>
        <p:spPr>
          <a:xfrm>
            <a:off x="-786211" y="2669824"/>
            <a:ext cx="251011" cy="251011"/>
          </a:xfrm>
          <a:prstGeom prst="ellipse">
            <a:avLst/>
          </a:prstGeom>
          <a:solidFill>
            <a:srgbClr val="14C26C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  <a:sym typeface="Calibri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FA4F81A8-2C73-3246-8DF2-B7994515FA87}"/>
              </a:ext>
            </a:extLst>
          </p:cNvPr>
          <p:cNvSpPr/>
          <p:nvPr userDrawn="1"/>
        </p:nvSpPr>
        <p:spPr>
          <a:xfrm>
            <a:off x="-786211" y="3544717"/>
            <a:ext cx="251011" cy="251011"/>
          </a:xfrm>
          <a:prstGeom prst="ellipse">
            <a:avLst/>
          </a:prstGeom>
          <a:solidFill>
            <a:srgbClr val="8606B6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  <a:sym typeface="Calibri"/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EA9F8BC5-62B8-154A-8456-2FF4CA07D3B9}"/>
              </a:ext>
            </a:extLst>
          </p:cNvPr>
          <p:cNvSpPr/>
          <p:nvPr userDrawn="1"/>
        </p:nvSpPr>
        <p:spPr>
          <a:xfrm>
            <a:off x="-786211" y="3979339"/>
            <a:ext cx="251011" cy="251011"/>
          </a:xfrm>
          <a:prstGeom prst="ellipse">
            <a:avLst/>
          </a:prstGeom>
          <a:solidFill>
            <a:srgbClr val="F78423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  <a:sym typeface="Calibri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07783601-7305-E24D-BE5B-DCE43F9C003B}"/>
              </a:ext>
            </a:extLst>
          </p:cNvPr>
          <p:cNvSpPr/>
          <p:nvPr userDrawn="1"/>
        </p:nvSpPr>
        <p:spPr>
          <a:xfrm>
            <a:off x="-786211" y="4413961"/>
            <a:ext cx="251011" cy="251011"/>
          </a:xfrm>
          <a:prstGeom prst="ellipse">
            <a:avLst/>
          </a:prstGeom>
          <a:solidFill>
            <a:srgbClr val="B0005C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  <a:sym typeface="Calibri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2F196B8D-1B4E-4B47-9FDA-4B816603B824}"/>
              </a:ext>
            </a:extLst>
          </p:cNvPr>
          <p:cNvSpPr/>
          <p:nvPr userDrawn="1"/>
        </p:nvSpPr>
        <p:spPr>
          <a:xfrm>
            <a:off x="-786211" y="3127024"/>
            <a:ext cx="251011" cy="251011"/>
          </a:xfrm>
          <a:prstGeom prst="ellipse">
            <a:avLst/>
          </a:prstGeom>
          <a:solidFill>
            <a:srgbClr val="00AEEF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  <a:sym typeface="Calibri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A5BE025-9E92-B24D-B3B5-E5C787C7D036}"/>
              </a:ext>
            </a:extLst>
          </p:cNvPr>
          <p:cNvSpPr txBox="1"/>
          <p:nvPr userDrawn="1"/>
        </p:nvSpPr>
        <p:spPr>
          <a:xfrm>
            <a:off x="-977779" y="4785916"/>
            <a:ext cx="634146" cy="25391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Calibri"/>
                <a:sym typeface="Calibri"/>
              </a:rPr>
              <a:t>Text color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E03F16BB-3F8A-7744-842C-5CEE50C7ECC4}"/>
              </a:ext>
            </a:extLst>
          </p:cNvPr>
          <p:cNvSpPr/>
          <p:nvPr userDrawn="1"/>
        </p:nvSpPr>
        <p:spPr>
          <a:xfrm>
            <a:off x="-786211" y="5062901"/>
            <a:ext cx="251011" cy="251011"/>
          </a:xfrm>
          <a:prstGeom prst="ellipse">
            <a:avLst/>
          </a:prstGeom>
          <a:solidFill>
            <a:schemeClr val="tx1">
              <a:lumMod val="85000"/>
              <a:lumOff val="15000"/>
            </a:schemeClr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  <a:sym typeface="Calibri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8B9ED89-C260-6545-B790-2DD3B26ED527}"/>
              </a:ext>
            </a:extLst>
          </p:cNvPr>
          <p:cNvSpPr txBox="1"/>
          <p:nvPr userDrawn="1"/>
        </p:nvSpPr>
        <p:spPr>
          <a:xfrm>
            <a:off x="-1008236" y="1503652"/>
            <a:ext cx="695060" cy="24621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Calibri"/>
                <a:sym typeface="Calibri"/>
              </a:rPr>
              <a:t>Brand color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D1699DF4-495D-5342-BA47-C4329DE33F7D}"/>
              </a:ext>
            </a:extLst>
          </p:cNvPr>
          <p:cNvSpPr txBox="1"/>
          <p:nvPr userDrawn="1"/>
        </p:nvSpPr>
        <p:spPr>
          <a:xfrm>
            <a:off x="-1093315" y="2220662"/>
            <a:ext cx="897038" cy="40010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Calibri"/>
                <a:sym typeface="Calibri"/>
              </a:rPr>
              <a:t>Complimentary</a:t>
            </a:r>
          </a:p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Calibri"/>
                <a:sym typeface="Calibri"/>
              </a:rPr>
              <a:t>colors</a:t>
            </a:r>
          </a:p>
        </p:txBody>
      </p:sp>
    </p:spTree>
    <p:extLst>
      <p:ext uri="{BB962C8B-B14F-4D97-AF65-F5344CB8AC3E}">
        <p14:creationId xmlns:p14="http://schemas.microsoft.com/office/powerpoint/2010/main" val="16057136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5" r:id="rId1"/>
    <p:sldLayoutId id="2147483806" r:id="rId2"/>
    <p:sldLayoutId id="2147483808" r:id="rId3"/>
    <p:sldLayoutId id="2147483810" r:id="rId4"/>
  </p:sldLayoutIdLst>
  <p:transition spd="med"/>
  <p:hf hdr="0"/>
  <p:txStyles>
    <p:titleStyle>
      <a:lvl1pPr marL="0" marR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000" b="1" i="0" u="none" strike="noStrike" cap="none" spc="0" baseline="0">
          <a:ln>
            <a:noFill/>
          </a:ln>
          <a:solidFill>
            <a:schemeClr val="tx1">
              <a:lumMod val="85000"/>
              <a:lumOff val="15000"/>
            </a:schemeClr>
          </a:solidFill>
          <a:uFillTx/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Calibri Light"/>
        </a:defRPr>
      </a:lvl1pPr>
      <a:lvl2pPr marL="0" marR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2pPr>
      <a:lvl3pPr marL="0" marR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3pPr>
      <a:lvl4pPr marL="0" marR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4pPr>
      <a:lvl5pPr marL="0" marR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5pPr>
      <a:lvl6pPr marL="0" marR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6pPr>
      <a:lvl7pPr marL="0" marR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7pPr>
      <a:lvl8pPr marL="0" marR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8pPr>
      <a:lvl9pPr marL="0" marR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9pPr>
    </p:titleStyle>
    <p:bodyStyle>
      <a:lvl1pPr marL="228600" marR="0" indent="-228600" algn="l" defTabSz="914400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ln>
            <a:noFill/>
          </a:ln>
          <a:solidFill>
            <a:schemeClr val="tx1">
              <a:lumMod val="85000"/>
              <a:lumOff val="15000"/>
            </a:schemeClr>
          </a:solidFill>
          <a:effectLst>
            <a:outerShdw sx="1000" sy="1000" algn="ctr" rotWithShape="0">
              <a:schemeClr val="tx1"/>
            </a:outerShdw>
          </a:effectLst>
          <a:uFillTx/>
          <a:latin typeface="Arial" panose="020B0604020202020204" pitchFamily="34" charset="0"/>
          <a:ea typeface="+mn-ea"/>
          <a:cs typeface="Arial" panose="020B0604020202020204" pitchFamily="34" charset="0"/>
          <a:sym typeface="Calibri"/>
        </a:defRPr>
      </a:lvl1pPr>
      <a:lvl2pPr marL="723900" marR="0" indent="-266700" algn="l" defTabSz="914400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ln>
            <a:noFill/>
          </a:ln>
          <a:solidFill>
            <a:schemeClr val="tx1">
              <a:lumMod val="85000"/>
              <a:lumOff val="15000"/>
            </a:schemeClr>
          </a:solidFill>
          <a:effectLst>
            <a:outerShdw sx="1000" sy="1000" algn="ctr" rotWithShape="0">
              <a:schemeClr val="tx1"/>
            </a:outerShdw>
          </a:effectLst>
          <a:uFillTx/>
          <a:latin typeface="Arial" panose="020B0604020202020204" pitchFamily="34" charset="0"/>
          <a:ea typeface="+mn-ea"/>
          <a:cs typeface="Arial" panose="020B0604020202020204" pitchFamily="34" charset="0"/>
          <a:sym typeface="Calibri"/>
        </a:defRPr>
      </a:lvl2pPr>
      <a:lvl3pPr marL="1234439" marR="0" indent="-320039" algn="l" defTabSz="914400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ln>
            <a:noFill/>
          </a:ln>
          <a:solidFill>
            <a:schemeClr val="tx1">
              <a:lumMod val="85000"/>
              <a:lumOff val="15000"/>
            </a:schemeClr>
          </a:solidFill>
          <a:effectLst>
            <a:outerShdw sx="1000" sy="1000" algn="ctr" rotWithShape="0">
              <a:schemeClr val="tx1"/>
            </a:outerShdw>
          </a:effectLst>
          <a:uFillTx/>
          <a:latin typeface="Arial" panose="020B0604020202020204" pitchFamily="34" charset="0"/>
          <a:ea typeface="+mn-ea"/>
          <a:cs typeface="Arial" panose="020B0604020202020204" pitchFamily="34" charset="0"/>
          <a:sym typeface="Calibri"/>
        </a:defRPr>
      </a:lvl3pPr>
      <a:lvl4pPr marL="1727200" marR="0" indent="-355600" algn="l" defTabSz="914400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ln>
            <a:noFill/>
          </a:ln>
          <a:solidFill>
            <a:schemeClr val="tx1">
              <a:lumMod val="85000"/>
              <a:lumOff val="15000"/>
            </a:schemeClr>
          </a:solidFill>
          <a:effectLst>
            <a:outerShdw sx="1000" sy="1000" algn="ctr" rotWithShape="0">
              <a:schemeClr val="tx1"/>
            </a:outerShdw>
          </a:effectLst>
          <a:uFillTx/>
          <a:latin typeface="Arial" panose="020B0604020202020204" pitchFamily="34" charset="0"/>
          <a:ea typeface="+mn-ea"/>
          <a:cs typeface="Arial" panose="020B0604020202020204" pitchFamily="34" charset="0"/>
          <a:sym typeface="Calibri"/>
        </a:defRPr>
      </a:lvl4pPr>
      <a:lvl5pPr marL="2184400" marR="0" indent="-355600" algn="l" defTabSz="914400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ln>
            <a:noFill/>
          </a:ln>
          <a:solidFill>
            <a:schemeClr val="tx1">
              <a:lumMod val="85000"/>
              <a:lumOff val="15000"/>
            </a:schemeClr>
          </a:solidFill>
          <a:effectLst>
            <a:outerShdw sx="1000" sy="1000" algn="ctr" rotWithShape="0">
              <a:schemeClr val="tx1"/>
            </a:outerShdw>
          </a:effectLst>
          <a:uFillTx/>
          <a:latin typeface="Arial" panose="020B0604020202020204" pitchFamily="34" charset="0"/>
          <a:ea typeface="+mn-ea"/>
          <a:cs typeface="Arial" panose="020B0604020202020204" pitchFamily="34" charset="0"/>
          <a:sym typeface="Calibri"/>
        </a:defRPr>
      </a:lvl5pPr>
      <a:lvl6pPr marL="2641600" marR="0" indent="-355600" algn="l" defTabSz="914400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6pPr>
      <a:lvl7pPr marL="3098800" marR="0" indent="-355600" algn="l" defTabSz="914400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7pPr>
      <a:lvl8pPr marL="3556000" marR="0" indent="-355600" algn="l" defTabSz="914400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8pPr>
      <a:lvl9pPr marL="4013200" marR="0" indent="-355600" algn="l" defTabSz="914400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9pPr>
    </p:bodyStyle>
    <p:otherStyle>
      <a:lvl1pPr marL="0" marR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1pPr>
      <a:lvl2pPr marL="0" marR="0" indent="4572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2pPr>
      <a:lvl3pPr marL="0" marR="0" indent="9144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3pPr>
      <a:lvl4pPr marL="0" marR="0" indent="13716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4pPr>
      <a:lvl5pPr marL="0" marR="0" indent="18288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5pPr>
      <a:lvl6pPr marL="0" marR="0" indent="22860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6pPr>
      <a:lvl7pPr marL="0" marR="0" indent="27432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7pPr>
      <a:lvl8pPr marL="0" marR="0" indent="32004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8pPr>
      <a:lvl9pPr marL="0" marR="0" indent="36576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5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946249" y="6642855"/>
            <a:ext cx="245751" cy="225709"/>
          </a:xfrm>
          <a:prstGeom prst="rect">
            <a:avLst/>
          </a:prstGeom>
          <a:ln w="12700">
            <a:miter lim="400000"/>
          </a:ln>
        </p:spPr>
        <p:txBody>
          <a:bodyPr wrap="none" lIns="45719" rIns="45719">
            <a:spAutoFit/>
          </a:bodyPr>
          <a:lstStyle>
            <a:lvl1pPr>
              <a:defRPr sz="1100">
                <a:solidFill>
                  <a:srgbClr val="929292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 dirty="0"/>
          </a:p>
        </p:txBody>
      </p:sp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ACB1658E-5C68-CB43-BACB-788A5B6410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0000" y="447188"/>
            <a:ext cx="10571998" cy="970450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9DDF0C4F-9045-3548-9802-128CB5B0C29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18713" y="1906476"/>
            <a:ext cx="10563285" cy="3674397"/>
          </a:xfrm>
          <a:prstGeom prst="rect">
            <a:avLst/>
          </a:prstGeom>
          <a:effectLst/>
        </p:spPr>
        <p:txBody>
          <a:bodyPr vert="horz" lIns="91440" tIns="45720" rIns="91440" bIns="45720" rtlCol="0" anchor="t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Date Placeholder 3">
            <a:extLst>
              <a:ext uri="{FF2B5EF4-FFF2-40B4-BE49-F238E27FC236}">
                <a16:creationId xmlns:a16="http://schemas.microsoft.com/office/drawing/2014/main" id="{82CF39F0-44BA-E647-AA99-658BDDE798D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771467" y="749850"/>
            <a:ext cx="2351122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fld id="{0AC1B52D-7485-264C-B4F3-6A96EBB94E64}" type="datetime3">
              <a:rPr lang="en-IN" smtClean="0"/>
              <a:pPr/>
              <a:t>14 September 2022</a:t>
            </a:fld>
            <a:endParaRPr lang="en-US" dirty="0"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A307519A-E37F-4748-9265-06035F60EDA4}"/>
              </a:ext>
            </a:extLst>
          </p:cNvPr>
          <p:cNvSpPr/>
          <p:nvPr userDrawn="1"/>
        </p:nvSpPr>
        <p:spPr>
          <a:xfrm>
            <a:off x="-786211" y="1806220"/>
            <a:ext cx="251011" cy="251011"/>
          </a:xfrm>
          <a:prstGeom prst="ellipse">
            <a:avLst/>
          </a:prstGeom>
          <a:solidFill>
            <a:srgbClr val="1B48B6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3401688B-5BBF-494D-A11B-601370B2C360}"/>
              </a:ext>
            </a:extLst>
          </p:cNvPr>
          <p:cNvSpPr/>
          <p:nvPr userDrawn="1"/>
        </p:nvSpPr>
        <p:spPr>
          <a:xfrm>
            <a:off x="-786211" y="2669824"/>
            <a:ext cx="251011" cy="251011"/>
          </a:xfrm>
          <a:prstGeom prst="ellipse">
            <a:avLst/>
          </a:prstGeom>
          <a:solidFill>
            <a:srgbClr val="14C26C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FA4F81A8-2C73-3246-8DF2-B7994515FA87}"/>
              </a:ext>
            </a:extLst>
          </p:cNvPr>
          <p:cNvSpPr/>
          <p:nvPr userDrawn="1"/>
        </p:nvSpPr>
        <p:spPr>
          <a:xfrm>
            <a:off x="-786211" y="3544717"/>
            <a:ext cx="251011" cy="251011"/>
          </a:xfrm>
          <a:prstGeom prst="ellipse">
            <a:avLst/>
          </a:prstGeom>
          <a:solidFill>
            <a:srgbClr val="8606B6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EA9F8BC5-62B8-154A-8456-2FF4CA07D3B9}"/>
              </a:ext>
            </a:extLst>
          </p:cNvPr>
          <p:cNvSpPr/>
          <p:nvPr userDrawn="1"/>
        </p:nvSpPr>
        <p:spPr>
          <a:xfrm>
            <a:off x="-786211" y="3979339"/>
            <a:ext cx="251011" cy="251011"/>
          </a:xfrm>
          <a:prstGeom prst="ellipse">
            <a:avLst/>
          </a:prstGeom>
          <a:solidFill>
            <a:srgbClr val="F78423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07783601-7305-E24D-BE5B-DCE43F9C003B}"/>
              </a:ext>
            </a:extLst>
          </p:cNvPr>
          <p:cNvSpPr/>
          <p:nvPr userDrawn="1"/>
        </p:nvSpPr>
        <p:spPr>
          <a:xfrm>
            <a:off x="-786211" y="4413961"/>
            <a:ext cx="251011" cy="251011"/>
          </a:xfrm>
          <a:prstGeom prst="ellipse">
            <a:avLst/>
          </a:prstGeom>
          <a:solidFill>
            <a:srgbClr val="B0005C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2F196B8D-1B4E-4B47-9FDA-4B816603B824}"/>
              </a:ext>
            </a:extLst>
          </p:cNvPr>
          <p:cNvSpPr/>
          <p:nvPr userDrawn="1"/>
        </p:nvSpPr>
        <p:spPr>
          <a:xfrm>
            <a:off x="-786211" y="3127024"/>
            <a:ext cx="251011" cy="251011"/>
          </a:xfrm>
          <a:prstGeom prst="ellipse">
            <a:avLst/>
          </a:prstGeom>
          <a:solidFill>
            <a:srgbClr val="00AEEF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A5BE025-9E92-B24D-B3B5-E5C787C7D036}"/>
              </a:ext>
            </a:extLst>
          </p:cNvPr>
          <p:cNvSpPr txBox="1"/>
          <p:nvPr userDrawn="1"/>
        </p:nvSpPr>
        <p:spPr>
          <a:xfrm>
            <a:off x="-977779" y="4785916"/>
            <a:ext cx="634146" cy="25391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Text color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E03F16BB-3F8A-7744-842C-5CEE50C7ECC4}"/>
              </a:ext>
            </a:extLst>
          </p:cNvPr>
          <p:cNvSpPr/>
          <p:nvPr userDrawn="1"/>
        </p:nvSpPr>
        <p:spPr>
          <a:xfrm>
            <a:off x="-786211" y="5062901"/>
            <a:ext cx="251011" cy="251011"/>
          </a:xfrm>
          <a:prstGeom prst="ellipse">
            <a:avLst/>
          </a:prstGeom>
          <a:solidFill>
            <a:schemeClr val="tx1">
              <a:lumMod val="85000"/>
              <a:lumOff val="15000"/>
            </a:schemeClr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8B9ED89-C260-6545-B790-2DD3B26ED527}"/>
              </a:ext>
            </a:extLst>
          </p:cNvPr>
          <p:cNvSpPr txBox="1"/>
          <p:nvPr userDrawn="1"/>
        </p:nvSpPr>
        <p:spPr>
          <a:xfrm>
            <a:off x="-1008236" y="1503652"/>
            <a:ext cx="695060" cy="24621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Brand color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D1699DF4-495D-5342-BA47-C4329DE33F7D}"/>
              </a:ext>
            </a:extLst>
          </p:cNvPr>
          <p:cNvSpPr txBox="1"/>
          <p:nvPr userDrawn="1"/>
        </p:nvSpPr>
        <p:spPr>
          <a:xfrm>
            <a:off x="-1093315" y="2220662"/>
            <a:ext cx="897038" cy="40010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Complimentary</a:t>
            </a:r>
          </a:p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colors</a:t>
            </a:r>
          </a:p>
        </p:txBody>
      </p:sp>
    </p:spTree>
    <p:extLst>
      <p:ext uri="{BB962C8B-B14F-4D97-AF65-F5344CB8AC3E}">
        <p14:creationId xmlns:p14="http://schemas.microsoft.com/office/powerpoint/2010/main" val="40045901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2" r:id="rId1"/>
    <p:sldLayoutId id="2147483813" r:id="rId2"/>
  </p:sldLayoutIdLst>
  <p:transition spd="med"/>
  <p:hf hdr="0"/>
  <p:txStyles>
    <p:titleStyle>
      <a:lvl1pPr marL="0" marR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000" b="1" i="0" u="none" strike="noStrike" cap="none" spc="0" baseline="0">
          <a:ln>
            <a:noFill/>
          </a:ln>
          <a:solidFill>
            <a:schemeClr val="tx1">
              <a:lumMod val="85000"/>
              <a:lumOff val="15000"/>
            </a:schemeClr>
          </a:solidFill>
          <a:uFillTx/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Calibri Light"/>
        </a:defRPr>
      </a:lvl1pPr>
      <a:lvl2pPr marL="0" marR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2pPr>
      <a:lvl3pPr marL="0" marR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3pPr>
      <a:lvl4pPr marL="0" marR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4pPr>
      <a:lvl5pPr marL="0" marR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5pPr>
      <a:lvl6pPr marL="0" marR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6pPr>
      <a:lvl7pPr marL="0" marR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7pPr>
      <a:lvl8pPr marL="0" marR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8pPr>
      <a:lvl9pPr marL="0" marR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9pPr>
    </p:titleStyle>
    <p:bodyStyle>
      <a:lvl1pPr marL="228600" marR="0" indent="-228600" algn="l" defTabSz="914400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ln>
            <a:noFill/>
          </a:ln>
          <a:solidFill>
            <a:schemeClr val="tx1">
              <a:lumMod val="85000"/>
              <a:lumOff val="15000"/>
            </a:schemeClr>
          </a:solidFill>
          <a:effectLst>
            <a:outerShdw sx="1000" sy="1000" algn="ctr" rotWithShape="0">
              <a:schemeClr val="tx1"/>
            </a:outerShdw>
          </a:effectLst>
          <a:uFillTx/>
          <a:latin typeface="Arial" panose="020B0604020202020204" pitchFamily="34" charset="0"/>
          <a:ea typeface="+mn-ea"/>
          <a:cs typeface="Arial" panose="020B0604020202020204" pitchFamily="34" charset="0"/>
          <a:sym typeface="Calibri"/>
        </a:defRPr>
      </a:lvl1pPr>
      <a:lvl2pPr marL="723900" marR="0" indent="-266700" algn="l" defTabSz="914400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ln>
            <a:noFill/>
          </a:ln>
          <a:solidFill>
            <a:schemeClr val="tx1">
              <a:lumMod val="85000"/>
              <a:lumOff val="15000"/>
            </a:schemeClr>
          </a:solidFill>
          <a:effectLst>
            <a:outerShdw sx="1000" sy="1000" algn="ctr" rotWithShape="0">
              <a:schemeClr val="tx1"/>
            </a:outerShdw>
          </a:effectLst>
          <a:uFillTx/>
          <a:latin typeface="Arial" panose="020B0604020202020204" pitchFamily="34" charset="0"/>
          <a:ea typeface="+mn-ea"/>
          <a:cs typeface="Arial" panose="020B0604020202020204" pitchFamily="34" charset="0"/>
          <a:sym typeface="Calibri"/>
        </a:defRPr>
      </a:lvl2pPr>
      <a:lvl3pPr marL="1234439" marR="0" indent="-320039" algn="l" defTabSz="914400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ln>
            <a:noFill/>
          </a:ln>
          <a:solidFill>
            <a:schemeClr val="tx1">
              <a:lumMod val="85000"/>
              <a:lumOff val="15000"/>
            </a:schemeClr>
          </a:solidFill>
          <a:effectLst>
            <a:outerShdw sx="1000" sy="1000" algn="ctr" rotWithShape="0">
              <a:schemeClr val="tx1"/>
            </a:outerShdw>
          </a:effectLst>
          <a:uFillTx/>
          <a:latin typeface="Arial" panose="020B0604020202020204" pitchFamily="34" charset="0"/>
          <a:ea typeface="+mn-ea"/>
          <a:cs typeface="Arial" panose="020B0604020202020204" pitchFamily="34" charset="0"/>
          <a:sym typeface="Calibri"/>
        </a:defRPr>
      </a:lvl3pPr>
      <a:lvl4pPr marL="1727200" marR="0" indent="-355600" algn="l" defTabSz="914400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ln>
            <a:noFill/>
          </a:ln>
          <a:solidFill>
            <a:schemeClr val="tx1">
              <a:lumMod val="85000"/>
              <a:lumOff val="15000"/>
            </a:schemeClr>
          </a:solidFill>
          <a:effectLst>
            <a:outerShdw sx="1000" sy="1000" algn="ctr" rotWithShape="0">
              <a:schemeClr val="tx1"/>
            </a:outerShdw>
          </a:effectLst>
          <a:uFillTx/>
          <a:latin typeface="Arial" panose="020B0604020202020204" pitchFamily="34" charset="0"/>
          <a:ea typeface="+mn-ea"/>
          <a:cs typeface="Arial" panose="020B0604020202020204" pitchFamily="34" charset="0"/>
          <a:sym typeface="Calibri"/>
        </a:defRPr>
      </a:lvl4pPr>
      <a:lvl5pPr marL="2184400" marR="0" indent="-355600" algn="l" defTabSz="914400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ln>
            <a:noFill/>
          </a:ln>
          <a:solidFill>
            <a:schemeClr val="tx1">
              <a:lumMod val="85000"/>
              <a:lumOff val="15000"/>
            </a:schemeClr>
          </a:solidFill>
          <a:effectLst>
            <a:outerShdw sx="1000" sy="1000" algn="ctr" rotWithShape="0">
              <a:schemeClr val="tx1"/>
            </a:outerShdw>
          </a:effectLst>
          <a:uFillTx/>
          <a:latin typeface="Arial" panose="020B0604020202020204" pitchFamily="34" charset="0"/>
          <a:ea typeface="+mn-ea"/>
          <a:cs typeface="Arial" panose="020B0604020202020204" pitchFamily="34" charset="0"/>
          <a:sym typeface="Calibri"/>
        </a:defRPr>
      </a:lvl5pPr>
      <a:lvl6pPr marL="2641600" marR="0" indent="-355600" algn="l" defTabSz="914400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6pPr>
      <a:lvl7pPr marL="3098800" marR="0" indent="-355600" algn="l" defTabSz="914400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7pPr>
      <a:lvl8pPr marL="3556000" marR="0" indent="-355600" algn="l" defTabSz="914400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8pPr>
      <a:lvl9pPr marL="4013200" marR="0" indent="-355600" algn="l" defTabSz="914400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9pPr>
    </p:bodyStyle>
    <p:otherStyle>
      <a:lvl1pPr marL="0" marR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1pPr>
      <a:lvl2pPr marL="0" marR="0" indent="4572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2pPr>
      <a:lvl3pPr marL="0" marR="0" indent="9144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3pPr>
      <a:lvl4pPr marL="0" marR="0" indent="13716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4pPr>
      <a:lvl5pPr marL="0" marR="0" indent="18288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5pPr>
      <a:lvl6pPr marL="0" marR="0" indent="22860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6pPr>
      <a:lvl7pPr marL="0" marR="0" indent="27432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7pPr>
      <a:lvl8pPr marL="0" marR="0" indent="32004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8pPr>
      <a:lvl9pPr marL="0" marR="0" indent="36576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hyperlink" Target="https://drive.google.com/file/d/1XpW8SD9v-UGmqBcu-y5S40Yl7DxBmy6v/view" TargetMode="External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0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13" Type="http://schemas.openxmlformats.org/officeDocument/2006/relationships/image" Target="../media/image32.png"/><Relationship Id="rId18" Type="http://schemas.openxmlformats.org/officeDocument/2006/relationships/image" Target="../media/image37.png"/><Relationship Id="rId26" Type="http://schemas.openxmlformats.org/officeDocument/2006/relationships/image" Target="../media/image45.png"/><Relationship Id="rId3" Type="http://schemas.openxmlformats.org/officeDocument/2006/relationships/image" Target="../media/image22.png"/><Relationship Id="rId21" Type="http://schemas.openxmlformats.org/officeDocument/2006/relationships/image" Target="../media/image40.jpeg"/><Relationship Id="rId7" Type="http://schemas.openxmlformats.org/officeDocument/2006/relationships/image" Target="../media/image26.png"/><Relationship Id="rId12" Type="http://schemas.openxmlformats.org/officeDocument/2006/relationships/image" Target="../media/image31.png"/><Relationship Id="rId17" Type="http://schemas.openxmlformats.org/officeDocument/2006/relationships/image" Target="../media/image36.png"/><Relationship Id="rId25" Type="http://schemas.openxmlformats.org/officeDocument/2006/relationships/image" Target="../media/image44.png"/><Relationship Id="rId2" Type="http://schemas.openxmlformats.org/officeDocument/2006/relationships/image" Target="../media/image21.png"/><Relationship Id="rId16" Type="http://schemas.openxmlformats.org/officeDocument/2006/relationships/image" Target="../media/image35.png"/><Relationship Id="rId20" Type="http://schemas.openxmlformats.org/officeDocument/2006/relationships/image" Target="../media/image39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5.png"/><Relationship Id="rId11" Type="http://schemas.openxmlformats.org/officeDocument/2006/relationships/image" Target="../media/image30.jfif"/><Relationship Id="rId24" Type="http://schemas.openxmlformats.org/officeDocument/2006/relationships/image" Target="../media/image43.png"/><Relationship Id="rId5" Type="http://schemas.openxmlformats.org/officeDocument/2006/relationships/image" Target="../media/image24.png"/><Relationship Id="rId15" Type="http://schemas.openxmlformats.org/officeDocument/2006/relationships/image" Target="../media/image34.png"/><Relationship Id="rId23" Type="http://schemas.openxmlformats.org/officeDocument/2006/relationships/image" Target="../media/image42.png"/><Relationship Id="rId28" Type="http://schemas.openxmlformats.org/officeDocument/2006/relationships/image" Target="../media/image47.png"/><Relationship Id="rId10" Type="http://schemas.openxmlformats.org/officeDocument/2006/relationships/image" Target="../media/image29.png"/><Relationship Id="rId19" Type="http://schemas.openxmlformats.org/officeDocument/2006/relationships/image" Target="../media/image38.png"/><Relationship Id="rId4" Type="http://schemas.openxmlformats.org/officeDocument/2006/relationships/image" Target="../media/image23.png"/><Relationship Id="rId9" Type="http://schemas.openxmlformats.org/officeDocument/2006/relationships/image" Target="../media/image28.png"/><Relationship Id="rId14" Type="http://schemas.openxmlformats.org/officeDocument/2006/relationships/image" Target="../media/image33.png"/><Relationship Id="rId22" Type="http://schemas.openxmlformats.org/officeDocument/2006/relationships/image" Target="../media/image41.png"/><Relationship Id="rId27" Type="http://schemas.openxmlformats.org/officeDocument/2006/relationships/image" Target="../media/image46.jp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50.png"/><Relationship Id="rId4" Type="http://schemas.openxmlformats.org/officeDocument/2006/relationships/image" Target="../media/image49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1B7D281-9AAA-C0FE-E707-123712502EDC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r>
              <a:rPr lang="en-US" dirty="0" smtClean="0"/>
              <a:t>STL NFs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639F629-1338-8D40-1DD2-400587BFBD09}"/>
              </a:ext>
            </a:extLst>
          </p:cNvPr>
          <p:cNvSpPr>
            <a:spLocks noGrp="1"/>
          </p:cNvSpPr>
          <p:nvPr>
            <p:ph type="body" idx="10"/>
          </p:nvPr>
        </p:nvSpPr>
        <p:spPr/>
        <p:txBody>
          <a:bodyPr/>
          <a:lstStyle/>
          <a:p>
            <a:r>
              <a:rPr lang="en-US" dirty="0" smtClean="0"/>
              <a:t>CTO Network Software 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F085D73-9D9D-85D7-018C-F50599ACB509}"/>
              </a:ext>
            </a:extLst>
          </p:cNvPr>
          <p:cNvSpPr>
            <a:spLocks noGrp="1"/>
          </p:cNvSpPr>
          <p:nvPr>
            <p:ph type="body" idx="13"/>
          </p:nvPr>
        </p:nvSpPr>
        <p:spPr/>
        <p:txBody>
          <a:bodyPr/>
          <a:lstStyle/>
          <a:p>
            <a:r>
              <a:rPr lang="en-IN" dirty="0"/>
              <a:t>Pieter Pabst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FCF6FBB-69E9-B585-0E53-BB96DA10BAA0}"/>
              </a:ext>
            </a:extLst>
          </p:cNvPr>
          <p:cNvSpPr>
            <a:spLocks noGrp="1"/>
          </p:cNvSpPr>
          <p:nvPr>
            <p:ph type="body" idx="16"/>
          </p:nvPr>
        </p:nvSpPr>
        <p:spPr/>
        <p:txBody>
          <a:bodyPr/>
          <a:lstStyle/>
          <a:p>
            <a:r>
              <a:rPr lang="en-US" dirty="0" smtClean="0"/>
              <a:t>14-09-2022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43223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 smtClean="0"/>
              <a:t>Standalone – PCRF and PCF</a:t>
            </a:r>
            <a:endParaRPr lang="en-IN" dirty="0"/>
          </a:p>
        </p:txBody>
      </p:sp>
      <p:grpSp>
        <p:nvGrpSpPr>
          <p:cNvPr id="4" name="Group 3"/>
          <p:cNvGrpSpPr/>
          <p:nvPr/>
        </p:nvGrpSpPr>
        <p:grpSpPr>
          <a:xfrm>
            <a:off x="463639" y="1257824"/>
            <a:ext cx="11108929" cy="5201964"/>
            <a:chOff x="463639" y="1061184"/>
            <a:chExt cx="11247583" cy="5528456"/>
          </a:xfrm>
        </p:grpSpPr>
        <p:sp>
          <p:nvSpPr>
            <p:cNvPr id="5" name="Rectangle 4"/>
            <p:cNvSpPr/>
            <p:nvPr/>
          </p:nvSpPr>
          <p:spPr>
            <a:xfrm>
              <a:off x="755374" y="1620078"/>
              <a:ext cx="6728791" cy="2047461"/>
            </a:xfrm>
            <a:prstGeom prst="rect">
              <a:avLst/>
            </a:prstGeom>
            <a:solidFill>
              <a:schemeClr val="bg2"/>
            </a:solidFill>
            <a:ln w="12700" cap="flat">
              <a:solidFill>
                <a:schemeClr val="accent1"/>
              </a:solidFill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  <a:sym typeface="Calibri"/>
              </a:endParaRPr>
            </a:p>
          </p:txBody>
        </p:sp>
        <p:grpSp>
          <p:nvGrpSpPr>
            <p:cNvPr id="6" name="Group 5"/>
            <p:cNvGrpSpPr/>
            <p:nvPr/>
          </p:nvGrpSpPr>
          <p:grpSpPr>
            <a:xfrm>
              <a:off x="3328046" y="1061184"/>
              <a:ext cx="1570382" cy="2587044"/>
              <a:chOff x="463639" y="1142209"/>
              <a:chExt cx="1570382" cy="2587044"/>
            </a:xfrm>
          </p:grpSpPr>
          <p:sp>
            <p:nvSpPr>
              <p:cNvPr id="42" name="Rectangle 41"/>
              <p:cNvSpPr/>
              <p:nvPr/>
            </p:nvSpPr>
            <p:spPr>
              <a:xfrm>
                <a:off x="463639" y="1142209"/>
                <a:ext cx="1570382" cy="369330"/>
              </a:xfrm>
              <a:prstGeom prst="rect">
                <a:avLst/>
              </a:prstGeom>
              <a:gradFill flip="none" rotWithShape="1">
                <a:gsLst>
                  <a:gs pos="0">
                    <a:srgbClr val="92D050">
                      <a:tint val="66000"/>
                      <a:satMod val="160000"/>
                    </a:srgbClr>
                  </a:gs>
                  <a:gs pos="50000">
                    <a:srgbClr val="92D050">
                      <a:tint val="44500"/>
                      <a:satMod val="160000"/>
                    </a:srgbClr>
                  </a:gs>
                  <a:gs pos="100000">
                    <a:srgbClr val="92D050">
                      <a:tint val="23500"/>
                      <a:satMod val="160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ot="0" spcFirstLastPara="1" vertOverflow="overflow" horzOverflow="overflow" vert="horz" wrap="square" lIns="45719" tIns="45719" rIns="45719" bIns="45719" numCol="1" spcCol="38100" rtlCol="0" anchor="ctr">
                <a:spAutoFit/>
              </a:bodyPr>
              <a:lstStyle/>
              <a:p>
                <a:pPr marL="0" marR="0" lvl="0" indent="0" algn="ctr" defTabSz="9144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8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Calibri"/>
                    <a:sym typeface="Calibri"/>
                  </a:rPr>
                  <a:t>PCF</a:t>
                </a: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  <a:sym typeface="Calibri"/>
                </a:endParaRPr>
              </a:p>
            </p:txBody>
          </p:sp>
          <p:cxnSp>
            <p:nvCxnSpPr>
              <p:cNvPr id="43" name="Straight Connector 42"/>
              <p:cNvCxnSpPr>
                <a:stCxn id="42" idx="2"/>
                <a:endCxn id="5" idx="2"/>
              </p:cNvCxnSpPr>
              <p:nvPr/>
            </p:nvCxnSpPr>
            <p:spPr>
              <a:xfrm flipH="1">
                <a:off x="1237422" y="1511539"/>
                <a:ext cx="11408" cy="2217714"/>
              </a:xfrm>
              <a:prstGeom prst="line">
                <a:avLst/>
              </a:prstGeom>
              <a:ln/>
            </p:spPr>
            <p:style>
              <a:lnRef idx="2">
                <a:schemeClr val="accent3"/>
              </a:lnRef>
              <a:fillRef idx="0">
                <a:schemeClr val="accent3"/>
              </a:fillRef>
              <a:effectRef idx="1">
                <a:schemeClr val="accent3"/>
              </a:effectRef>
              <a:fontRef idx="minor">
                <a:schemeClr val="tx1"/>
              </a:fontRef>
            </p:style>
          </p:cxnSp>
        </p:grpSp>
        <p:grpSp>
          <p:nvGrpSpPr>
            <p:cNvPr id="7" name="Group 6"/>
            <p:cNvGrpSpPr/>
            <p:nvPr/>
          </p:nvGrpSpPr>
          <p:grpSpPr>
            <a:xfrm>
              <a:off x="463639" y="1070750"/>
              <a:ext cx="1570382" cy="2596789"/>
              <a:chOff x="311239" y="907040"/>
              <a:chExt cx="1570382" cy="5610753"/>
            </a:xfrm>
          </p:grpSpPr>
          <p:sp>
            <p:nvSpPr>
              <p:cNvPr id="40" name="Rectangle 39"/>
              <p:cNvSpPr/>
              <p:nvPr/>
            </p:nvSpPr>
            <p:spPr>
              <a:xfrm>
                <a:off x="311239" y="907040"/>
                <a:ext cx="1570382" cy="797993"/>
              </a:xfrm>
              <a:prstGeom prst="rect">
                <a:avLst/>
              </a:prstGeom>
              <a:gradFill flip="none" rotWithShape="1">
                <a:gsLst>
                  <a:gs pos="0">
                    <a:srgbClr val="92D050">
                      <a:tint val="66000"/>
                      <a:satMod val="160000"/>
                    </a:srgbClr>
                  </a:gs>
                  <a:gs pos="50000">
                    <a:srgbClr val="92D050">
                      <a:tint val="44500"/>
                      <a:satMod val="160000"/>
                    </a:srgbClr>
                  </a:gs>
                  <a:gs pos="100000">
                    <a:srgbClr val="92D050">
                      <a:tint val="23500"/>
                      <a:satMod val="160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ot="0" spcFirstLastPara="1" vertOverflow="overflow" horzOverflow="overflow" vert="horz" wrap="square" lIns="45719" tIns="45719" rIns="45719" bIns="45719" numCol="1" spcCol="38100" rtlCol="0" anchor="ctr">
                <a:spAutoFit/>
              </a:bodyPr>
              <a:lstStyle/>
              <a:p>
                <a:pPr marL="0" marR="0" lvl="0" indent="0" algn="ctr" defTabSz="9144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cs typeface="Calibri"/>
                    <a:sym typeface="Calibri"/>
                  </a:rPr>
                  <a:t>SMF+PGW-C</a:t>
                </a: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cs typeface="Calibri"/>
                  <a:sym typeface="Calibri"/>
                </a:endParaRPr>
              </a:p>
            </p:txBody>
          </p:sp>
          <p:cxnSp>
            <p:nvCxnSpPr>
              <p:cNvPr id="41" name="Straight Connector 40"/>
              <p:cNvCxnSpPr>
                <a:stCxn id="40" idx="2"/>
              </p:cNvCxnSpPr>
              <p:nvPr/>
            </p:nvCxnSpPr>
            <p:spPr>
              <a:xfrm>
                <a:off x="1096430" y="1705033"/>
                <a:ext cx="0" cy="4812760"/>
              </a:xfrm>
              <a:prstGeom prst="line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</p:cxnSp>
        </p:grpSp>
        <p:grpSp>
          <p:nvGrpSpPr>
            <p:cNvPr id="8" name="Group 7"/>
            <p:cNvGrpSpPr/>
            <p:nvPr/>
          </p:nvGrpSpPr>
          <p:grpSpPr>
            <a:xfrm>
              <a:off x="6152135" y="1080495"/>
              <a:ext cx="1570382" cy="2587044"/>
              <a:chOff x="3117387" y="989809"/>
              <a:chExt cx="1570382" cy="2587044"/>
            </a:xfrm>
          </p:grpSpPr>
          <p:sp>
            <p:nvSpPr>
              <p:cNvPr id="38" name="Rectangle 37"/>
              <p:cNvSpPr/>
              <p:nvPr/>
            </p:nvSpPr>
            <p:spPr>
              <a:xfrm>
                <a:off x="3117387" y="989809"/>
                <a:ext cx="1570382" cy="369330"/>
              </a:xfrm>
              <a:prstGeom prst="rect">
                <a:avLst/>
              </a:prstGeom>
              <a:gradFill flip="none" rotWithShape="1">
                <a:gsLst>
                  <a:gs pos="0">
                    <a:srgbClr val="92D050">
                      <a:tint val="66000"/>
                      <a:satMod val="160000"/>
                    </a:srgbClr>
                  </a:gs>
                  <a:gs pos="50000">
                    <a:srgbClr val="92D050">
                      <a:tint val="44500"/>
                      <a:satMod val="160000"/>
                    </a:srgbClr>
                  </a:gs>
                  <a:gs pos="100000">
                    <a:srgbClr val="92D050">
                      <a:tint val="23500"/>
                      <a:satMod val="160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ot="0" spcFirstLastPara="1" vertOverflow="overflow" horzOverflow="overflow" vert="horz" wrap="square" lIns="45719" tIns="45719" rIns="45719" bIns="45719" numCol="1" spcCol="38100" rtlCol="0" anchor="ctr">
                <a:spAutoFit/>
              </a:bodyPr>
              <a:lstStyle/>
              <a:p>
                <a:pPr marL="0" marR="0" lvl="0" indent="0" algn="ctr" defTabSz="9144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cs typeface="Calibri"/>
                    <a:sym typeface="Calibri"/>
                  </a:rPr>
                  <a:t>UDR</a:t>
                </a: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cs typeface="Calibri"/>
                  <a:sym typeface="Calibri"/>
                </a:endParaRPr>
              </a:p>
            </p:txBody>
          </p:sp>
          <p:cxnSp>
            <p:nvCxnSpPr>
              <p:cNvPr id="39" name="Straight Connector 38"/>
              <p:cNvCxnSpPr>
                <a:stCxn id="38" idx="2"/>
              </p:cNvCxnSpPr>
              <p:nvPr/>
            </p:nvCxnSpPr>
            <p:spPr>
              <a:xfrm flipH="1">
                <a:off x="3882887" y="1359139"/>
                <a:ext cx="19691" cy="2217714"/>
              </a:xfrm>
              <a:prstGeom prst="line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</p:cxnSp>
        </p:grpSp>
        <p:cxnSp>
          <p:nvCxnSpPr>
            <p:cNvPr id="9" name="Straight Arrow Connector 8"/>
            <p:cNvCxnSpPr/>
            <p:nvPr/>
          </p:nvCxnSpPr>
          <p:spPr>
            <a:xfrm flipV="1">
              <a:off x="1272209" y="2266121"/>
              <a:ext cx="2882348" cy="9940"/>
            </a:xfrm>
            <a:prstGeom prst="straightConnector1">
              <a:avLst/>
            </a:prstGeom>
            <a:ln>
              <a:tailEnd type="triangle"/>
            </a:ln>
          </p:spPr>
          <p:style>
            <a:lnRef idx="2">
              <a:schemeClr val="accent3"/>
            </a:lnRef>
            <a:fillRef idx="0">
              <a:schemeClr val="accent3"/>
            </a:fillRef>
            <a:effectRef idx="1">
              <a:schemeClr val="accent3"/>
            </a:effectRef>
            <a:fontRef idx="minor">
              <a:schemeClr val="tx1"/>
            </a:fontRef>
          </p:style>
        </p:cxnSp>
        <p:sp>
          <p:nvSpPr>
            <p:cNvPr id="10" name="Rectangle 9"/>
            <p:cNvSpPr/>
            <p:nvPr/>
          </p:nvSpPr>
          <p:spPr>
            <a:xfrm>
              <a:off x="6420678" y="1633234"/>
              <a:ext cx="1068029" cy="461663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2700" cap="flat">
              <a:solidFill>
                <a:schemeClr val="accent1"/>
              </a:solidFill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Calibri"/>
                </a:rPr>
                <a:t>5G sub latches on NR</a:t>
              </a:r>
              <a:endParaRPr kumimoji="0" lang="en-I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1591201" y="1721563"/>
              <a:ext cx="2147381" cy="41549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none" lIns="45719" tIns="45719" rIns="45719" bIns="45719" numCol="1" spcCol="38100" rtlCol="0" anchor="t">
              <a:spAutoFit/>
            </a:bodyPr>
            <a:lstStyle/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5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Calibri"/>
                </a:rPr>
                <a:t>5G Registration and PDU session </a:t>
              </a:r>
            </a:p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5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Calibri"/>
                </a:rPr>
                <a:t>establishment using N7 SBI</a:t>
              </a:r>
              <a:endParaRPr kumimoji="0" lang="en-IN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endParaRPr>
            </a:p>
          </p:txBody>
        </p:sp>
        <p:cxnSp>
          <p:nvCxnSpPr>
            <p:cNvPr id="12" name="Straight Arrow Connector 11"/>
            <p:cNvCxnSpPr/>
            <p:nvPr/>
          </p:nvCxnSpPr>
          <p:spPr>
            <a:xfrm flipV="1">
              <a:off x="4119676" y="2628824"/>
              <a:ext cx="2882348" cy="9940"/>
            </a:xfrm>
            <a:prstGeom prst="straightConnector1">
              <a:avLst/>
            </a:prstGeom>
            <a:ln>
              <a:headEnd type="arrow" w="med" len="med"/>
              <a:tailEnd type="arrow" w="med" len="med"/>
            </a:ln>
          </p:spPr>
          <p:style>
            <a:lnRef idx="2">
              <a:schemeClr val="accent3"/>
            </a:lnRef>
            <a:fillRef idx="0">
              <a:schemeClr val="accent3"/>
            </a:fillRef>
            <a:effectRef idx="1">
              <a:schemeClr val="accent3"/>
            </a:effectRef>
            <a:fontRef idx="minor">
              <a:schemeClr val="tx1"/>
            </a:fontRef>
          </p:style>
        </p:cxnSp>
        <p:sp>
          <p:nvSpPr>
            <p:cNvPr id="13" name="TextBox 12"/>
            <p:cNvSpPr txBox="1"/>
            <p:nvPr/>
          </p:nvSpPr>
          <p:spPr>
            <a:xfrm>
              <a:off x="4312725" y="2183225"/>
              <a:ext cx="2475997" cy="41549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none" lIns="45719" tIns="45719" rIns="45719" bIns="45719" numCol="1" spcCol="38100" rtlCol="0" anchor="t">
              <a:spAutoFit/>
            </a:bodyPr>
            <a:lstStyle/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5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Calibri"/>
                </a:rPr>
                <a:t>PCF uses subscriber’s 5G Policy Profile</a:t>
              </a:r>
            </a:p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5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Calibri"/>
                </a:rPr>
                <a:t> in UDR</a:t>
              </a:r>
              <a:endParaRPr kumimoji="0" lang="en-IN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endParaRPr>
            </a:p>
          </p:txBody>
        </p:sp>
        <p:cxnSp>
          <p:nvCxnSpPr>
            <p:cNvPr id="14" name="Straight Arrow Connector 13"/>
            <p:cNvCxnSpPr/>
            <p:nvPr/>
          </p:nvCxnSpPr>
          <p:spPr>
            <a:xfrm flipH="1">
              <a:off x="1219013" y="3437797"/>
              <a:ext cx="2900663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2">
              <a:schemeClr val="accent3"/>
            </a:lnRef>
            <a:fillRef idx="0">
              <a:schemeClr val="accent3"/>
            </a:fillRef>
            <a:effectRef idx="1">
              <a:schemeClr val="accent3"/>
            </a:effectRef>
            <a:fontRef idx="minor">
              <a:schemeClr val="tx1"/>
            </a:fontRef>
          </p:style>
        </p:cxnSp>
        <p:sp>
          <p:nvSpPr>
            <p:cNvPr id="15" name="TextBox 14"/>
            <p:cNvSpPr txBox="1"/>
            <p:nvPr/>
          </p:nvSpPr>
          <p:spPr>
            <a:xfrm>
              <a:off x="1529999" y="3151218"/>
              <a:ext cx="2331727" cy="253914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none" lIns="45719" tIns="45719" rIns="45719" bIns="45719" numCol="1" spcCol="38100" rtlCol="0" anchor="t">
              <a:spAutoFit/>
            </a:bodyPr>
            <a:lstStyle/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Calibri"/>
                </a:rPr>
                <a:t>Apply Policies for 5G Session to SMF</a:t>
              </a:r>
              <a:endParaRPr kumimoji="0" lang="en-IN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16" name="Rectangle 15"/>
            <p:cNvSpPr/>
            <p:nvPr/>
          </p:nvSpPr>
          <p:spPr>
            <a:xfrm>
              <a:off x="755374" y="4532240"/>
              <a:ext cx="6728791" cy="2047461"/>
            </a:xfrm>
            <a:prstGeom prst="rect">
              <a:avLst/>
            </a:prstGeom>
            <a:solidFill>
              <a:schemeClr val="bg2"/>
            </a:solidFill>
            <a:ln w="12700" cap="flat">
              <a:solidFill>
                <a:schemeClr val="accent1"/>
              </a:solidFill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  <a:sym typeface="Calibri"/>
              </a:endParaRPr>
            </a:p>
          </p:txBody>
        </p:sp>
        <p:grpSp>
          <p:nvGrpSpPr>
            <p:cNvPr id="17" name="Group 16"/>
            <p:cNvGrpSpPr/>
            <p:nvPr/>
          </p:nvGrpSpPr>
          <p:grpSpPr>
            <a:xfrm>
              <a:off x="3345987" y="3992657"/>
              <a:ext cx="1570382" cy="2596983"/>
              <a:chOff x="463639" y="1142209"/>
              <a:chExt cx="1570382" cy="2596983"/>
            </a:xfrm>
          </p:grpSpPr>
          <p:sp>
            <p:nvSpPr>
              <p:cNvPr id="36" name="Rectangle 35"/>
              <p:cNvSpPr/>
              <p:nvPr/>
            </p:nvSpPr>
            <p:spPr>
              <a:xfrm>
                <a:off x="463639" y="1142209"/>
                <a:ext cx="1570382" cy="369330"/>
              </a:xfrm>
              <a:prstGeom prst="rect">
                <a:avLst/>
              </a:prstGeom>
              <a:gradFill flip="none" rotWithShape="1">
                <a:gsLst>
                  <a:gs pos="0">
                    <a:srgbClr val="FFC000">
                      <a:tint val="66000"/>
                      <a:satMod val="160000"/>
                    </a:srgbClr>
                  </a:gs>
                  <a:gs pos="50000">
                    <a:srgbClr val="FFC000">
                      <a:tint val="44500"/>
                      <a:satMod val="160000"/>
                    </a:srgbClr>
                  </a:gs>
                  <a:gs pos="100000">
                    <a:srgbClr val="FFC000">
                      <a:tint val="23500"/>
                      <a:satMod val="160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ot="0" spcFirstLastPara="1" vertOverflow="overflow" horzOverflow="overflow" vert="horz" wrap="square" lIns="45719" tIns="45719" rIns="45719" bIns="45719" numCol="1" spcCol="38100" rtlCol="0" anchor="ctr">
                <a:spAutoFit/>
              </a:bodyPr>
              <a:lstStyle/>
              <a:p>
                <a:pPr marL="0" marR="0" lvl="0" indent="0" algn="ctr" defTabSz="9144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cs typeface="Calibri"/>
                    <a:sym typeface="Calibri"/>
                  </a:rPr>
                  <a:t>PCRF</a:t>
                </a: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cs typeface="Calibri"/>
                  <a:sym typeface="Calibri"/>
                </a:endParaRPr>
              </a:p>
            </p:txBody>
          </p:sp>
          <p:cxnSp>
            <p:nvCxnSpPr>
              <p:cNvPr id="37" name="Straight Connector 36"/>
              <p:cNvCxnSpPr>
                <a:stCxn id="36" idx="2"/>
                <a:endCxn id="16" idx="2"/>
              </p:cNvCxnSpPr>
              <p:nvPr/>
            </p:nvCxnSpPr>
            <p:spPr>
              <a:xfrm flipH="1">
                <a:off x="1237422" y="1511539"/>
                <a:ext cx="11408" cy="2227653"/>
              </a:xfrm>
              <a:prstGeom prst="line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</p:cxnSp>
        </p:grpSp>
        <p:grpSp>
          <p:nvGrpSpPr>
            <p:cNvPr id="18" name="Group 17"/>
            <p:cNvGrpSpPr/>
            <p:nvPr/>
          </p:nvGrpSpPr>
          <p:grpSpPr>
            <a:xfrm>
              <a:off x="463639" y="3982912"/>
              <a:ext cx="1570382" cy="2596789"/>
              <a:chOff x="311239" y="907040"/>
              <a:chExt cx="1570382" cy="5610753"/>
            </a:xfrm>
          </p:grpSpPr>
          <p:sp>
            <p:nvSpPr>
              <p:cNvPr id="34" name="Rectangle 33"/>
              <p:cNvSpPr/>
              <p:nvPr/>
            </p:nvSpPr>
            <p:spPr>
              <a:xfrm>
                <a:off x="311239" y="907040"/>
                <a:ext cx="1570382" cy="797993"/>
              </a:xfrm>
              <a:prstGeom prst="rect">
                <a:avLst/>
              </a:prstGeom>
              <a:gradFill flip="none" rotWithShape="1">
                <a:gsLst>
                  <a:gs pos="0">
                    <a:srgbClr val="FFC000">
                      <a:tint val="66000"/>
                      <a:satMod val="160000"/>
                    </a:srgbClr>
                  </a:gs>
                  <a:gs pos="50000">
                    <a:srgbClr val="FFC000">
                      <a:tint val="44500"/>
                      <a:satMod val="160000"/>
                    </a:srgbClr>
                  </a:gs>
                  <a:gs pos="100000">
                    <a:srgbClr val="FFC000">
                      <a:tint val="23500"/>
                      <a:satMod val="160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ot="0" spcFirstLastPara="1" vertOverflow="overflow" horzOverflow="overflow" vert="horz" wrap="square" lIns="45719" tIns="45719" rIns="45719" bIns="45719" numCol="1" spcCol="38100" rtlCol="0" anchor="ctr">
                <a:spAutoFit/>
              </a:bodyPr>
              <a:lstStyle/>
              <a:p>
                <a:pPr marL="0" marR="0" lvl="0" indent="0" algn="ctr" defTabSz="9144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cs typeface="Calibri"/>
                    <a:sym typeface="Calibri"/>
                  </a:rPr>
                  <a:t>SMF+PGW-C</a:t>
                </a: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cs typeface="Calibri"/>
                  <a:sym typeface="Calibri"/>
                </a:endParaRPr>
              </a:p>
            </p:txBody>
          </p:sp>
          <p:cxnSp>
            <p:nvCxnSpPr>
              <p:cNvPr id="35" name="Straight Connector 34"/>
              <p:cNvCxnSpPr>
                <a:stCxn id="34" idx="2"/>
              </p:cNvCxnSpPr>
              <p:nvPr/>
            </p:nvCxnSpPr>
            <p:spPr>
              <a:xfrm>
                <a:off x="1096430" y="1705033"/>
                <a:ext cx="15847" cy="4812760"/>
              </a:xfrm>
              <a:prstGeom prst="line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</p:cxnSp>
        </p:grpSp>
        <p:grpSp>
          <p:nvGrpSpPr>
            <p:cNvPr id="19" name="Group 18"/>
            <p:cNvGrpSpPr/>
            <p:nvPr/>
          </p:nvGrpSpPr>
          <p:grpSpPr>
            <a:xfrm>
              <a:off x="6152135" y="3992657"/>
              <a:ext cx="1570382" cy="2587044"/>
              <a:chOff x="3117387" y="989809"/>
              <a:chExt cx="1570382" cy="2587044"/>
            </a:xfrm>
          </p:grpSpPr>
          <p:sp>
            <p:nvSpPr>
              <p:cNvPr id="32" name="Rectangle 31"/>
              <p:cNvSpPr/>
              <p:nvPr/>
            </p:nvSpPr>
            <p:spPr>
              <a:xfrm>
                <a:off x="3117387" y="989809"/>
                <a:ext cx="1570382" cy="369330"/>
              </a:xfrm>
              <a:prstGeom prst="rect">
                <a:avLst/>
              </a:prstGeom>
              <a:gradFill flip="none" rotWithShape="1">
                <a:gsLst>
                  <a:gs pos="0">
                    <a:srgbClr val="FFC000">
                      <a:tint val="66000"/>
                      <a:satMod val="160000"/>
                    </a:srgbClr>
                  </a:gs>
                  <a:gs pos="50000">
                    <a:srgbClr val="FFC000">
                      <a:tint val="44500"/>
                      <a:satMod val="160000"/>
                    </a:srgbClr>
                  </a:gs>
                  <a:gs pos="100000">
                    <a:srgbClr val="FFC000">
                      <a:tint val="23500"/>
                      <a:satMod val="160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ot="0" spcFirstLastPara="1" vertOverflow="overflow" horzOverflow="overflow" vert="horz" wrap="square" lIns="45719" tIns="45719" rIns="45719" bIns="45719" numCol="1" spcCol="38100" rtlCol="0" anchor="ctr">
                <a:spAutoFit/>
              </a:bodyPr>
              <a:lstStyle/>
              <a:p>
                <a:pPr marL="0" marR="0" lvl="0" indent="0" algn="ctr" defTabSz="9144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cs typeface="Calibri"/>
                    <a:sym typeface="Calibri"/>
                  </a:rPr>
                  <a:t>SPR</a:t>
                </a: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cs typeface="Calibri"/>
                  <a:sym typeface="Calibri"/>
                </a:endParaRPr>
              </a:p>
            </p:txBody>
          </p:sp>
          <p:cxnSp>
            <p:nvCxnSpPr>
              <p:cNvPr id="33" name="Straight Connector 32"/>
              <p:cNvCxnSpPr>
                <a:stCxn id="32" idx="2"/>
              </p:cNvCxnSpPr>
              <p:nvPr/>
            </p:nvCxnSpPr>
            <p:spPr>
              <a:xfrm>
                <a:off x="3902578" y="1359139"/>
                <a:ext cx="29911" cy="2217714"/>
              </a:xfrm>
              <a:prstGeom prst="line">
                <a:avLst/>
              </a:prstGeom>
              <a:solidFill>
                <a:schemeClr val="accent4">
                  <a:lumMod val="40000"/>
                  <a:lumOff val="60000"/>
                </a:schemeClr>
              </a:solidFill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</p:cxnSp>
        </p:grpSp>
        <p:cxnSp>
          <p:nvCxnSpPr>
            <p:cNvPr id="20" name="Straight Arrow Connector 19"/>
            <p:cNvCxnSpPr/>
            <p:nvPr/>
          </p:nvCxnSpPr>
          <p:spPr>
            <a:xfrm flipV="1">
              <a:off x="1272209" y="5178283"/>
              <a:ext cx="2882348" cy="9940"/>
            </a:xfrm>
            <a:prstGeom prst="straightConnector1">
              <a:avLst/>
            </a:prstGeom>
            <a:ln>
              <a:tailEnd type="triangle"/>
            </a:ln>
          </p:spPr>
          <p:style>
            <a:lnRef idx="2">
              <a:schemeClr val="accent3"/>
            </a:lnRef>
            <a:fillRef idx="0">
              <a:schemeClr val="accent3"/>
            </a:fillRef>
            <a:effectRef idx="1">
              <a:schemeClr val="accent3"/>
            </a:effectRef>
            <a:fontRef idx="minor">
              <a:schemeClr val="tx1"/>
            </a:fontRef>
          </p:style>
        </p:cxnSp>
        <p:sp>
          <p:nvSpPr>
            <p:cNvPr id="21" name="Rectangle 20"/>
            <p:cNvSpPr/>
            <p:nvPr/>
          </p:nvSpPr>
          <p:spPr>
            <a:xfrm>
              <a:off x="6420678" y="4545396"/>
              <a:ext cx="1068029" cy="461663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2700" cap="flat">
              <a:solidFill>
                <a:schemeClr val="accent1"/>
              </a:solidFill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Calibri"/>
                </a:rPr>
                <a:t>5G sub moves to LTE </a:t>
              </a:r>
              <a:endParaRPr kumimoji="0" lang="en-I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1857299" y="4633725"/>
              <a:ext cx="1615184" cy="41549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none" lIns="45719" tIns="45719" rIns="45719" bIns="45719" numCol="1" spcCol="38100" rtlCol="0" anchor="t">
              <a:spAutoFit/>
            </a:bodyPr>
            <a:lstStyle/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5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Calibri"/>
                </a:rPr>
                <a:t>LTE EPS Bearer creation</a:t>
              </a:r>
            </a:p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5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Calibri"/>
                </a:rPr>
                <a:t>using Diameter based </a:t>
              </a:r>
              <a:r>
                <a:rPr kumimoji="0" lang="en-GB" sz="1050" b="0" i="0" u="none" strike="noStrike" kern="1200" cap="none" spc="0" normalizeH="0" baseline="0" noProof="0" dirty="0" err="1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Calibri"/>
                </a:rPr>
                <a:t>Gx</a:t>
              </a:r>
              <a:endParaRPr kumimoji="0" lang="en-IN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endParaRPr>
            </a:p>
          </p:txBody>
        </p:sp>
        <p:cxnSp>
          <p:nvCxnSpPr>
            <p:cNvPr id="23" name="Straight Arrow Connector 22"/>
            <p:cNvCxnSpPr/>
            <p:nvPr/>
          </p:nvCxnSpPr>
          <p:spPr>
            <a:xfrm flipV="1">
              <a:off x="4119676" y="5540986"/>
              <a:ext cx="2882348" cy="9940"/>
            </a:xfrm>
            <a:prstGeom prst="straightConnector1">
              <a:avLst/>
            </a:prstGeom>
            <a:ln>
              <a:headEnd type="arrow" w="med" len="med"/>
              <a:tailEnd type="arrow" w="med" len="med"/>
            </a:ln>
          </p:spPr>
          <p:style>
            <a:lnRef idx="2">
              <a:schemeClr val="accent3"/>
            </a:lnRef>
            <a:fillRef idx="0">
              <a:schemeClr val="accent3"/>
            </a:fillRef>
            <a:effectRef idx="1">
              <a:schemeClr val="accent3"/>
            </a:effectRef>
            <a:fontRef idx="minor">
              <a:schemeClr val="tx1"/>
            </a:fontRef>
          </p:style>
        </p:cxnSp>
        <p:sp>
          <p:nvSpPr>
            <p:cNvPr id="24" name="TextBox 23"/>
            <p:cNvSpPr txBox="1"/>
            <p:nvPr/>
          </p:nvSpPr>
          <p:spPr>
            <a:xfrm>
              <a:off x="4263834" y="5095387"/>
              <a:ext cx="2573780" cy="41549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none" lIns="45719" tIns="45719" rIns="45719" bIns="45719" numCol="1" spcCol="38100" rtlCol="0" anchor="t">
              <a:spAutoFit/>
            </a:bodyPr>
            <a:lstStyle/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5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Calibri"/>
                </a:rPr>
                <a:t>PCRF uses subscriber’s 4G Policy Profile</a:t>
              </a:r>
            </a:p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5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Calibri"/>
                </a:rPr>
                <a:t> in SPR</a:t>
              </a:r>
              <a:endParaRPr kumimoji="0" lang="en-IN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endParaRPr>
            </a:p>
          </p:txBody>
        </p:sp>
        <p:cxnSp>
          <p:nvCxnSpPr>
            <p:cNvPr id="25" name="Straight Arrow Connector 24"/>
            <p:cNvCxnSpPr/>
            <p:nvPr/>
          </p:nvCxnSpPr>
          <p:spPr>
            <a:xfrm flipH="1">
              <a:off x="1230515" y="6400759"/>
              <a:ext cx="2900663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2">
              <a:schemeClr val="accent3"/>
            </a:lnRef>
            <a:fillRef idx="0">
              <a:schemeClr val="accent3"/>
            </a:fillRef>
            <a:effectRef idx="1">
              <a:schemeClr val="accent3"/>
            </a:effectRef>
            <a:fontRef idx="minor">
              <a:schemeClr val="tx1"/>
            </a:fontRef>
          </p:style>
        </p:cxnSp>
        <p:sp>
          <p:nvSpPr>
            <p:cNvPr id="26" name="TextBox 25"/>
            <p:cNvSpPr txBox="1"/>
            <p:nvPr/>
          </p:nvSpPr>
          <p:spPr>
            <a:xfrm>
              <a:off x="1460557" y="6109360"/>
              <a:ext cx="2331727" cy="253914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none" lIns="45719" tIns="45719" rIns="45719" bIns="45719" numCol="1" spcCol="38100" rtlCol="0" anchor="t">
              <a:spAutoFit/>
            </a:bodyPr>
            <a:lstStyle/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Calibri"/>
                </a:rPr>
                <a:t>Apply Policies for 4G Session to SMF</a:t>
              </a:r>
              <a:endParaRPr kumimoji="0" lang="en-IN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27" name="Rectangle 26"/>
            <p:cNvSpPr/>
            <p:nvPr/>
          </p:nvSpPr>
          <p:spPr>
            <a:xfrm>
              <a:off x="807423" y="4610641"/>
              <a:ext cx="1068029" cy="461663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2700" cap="flat">
              <a:solidFill>
                <a:schemeClr val="accent1"/>
              </a:solidFill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Calibri"/>
                </a:rPr>
                <a:t>SMF maps 5G IEs to 4G</a:t>
              </a:r>
              <a:endParaRPr kumimoji="0" lang="en-I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28" name="Flowchart: Collate 27"/>
            <p:cNvSpPr/>
            <p:nvPr/>
          </p:nvSpPr>
          <p:spPr>
            <a:xfrm>
              <a:off x="3952240" y="2936240"/>
              <a:ext cx="309685" cy="325120"/>
            </a:xfrm>
            <a:prstGeom prst="flowChartCollate">
              <a:avLst/>
            </a:pr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  <a:sym typeface="Calibri"/>
              </a:endParaRPr>
            </a:p>
          </p:txBody>
        </p:sp>
        <p:sp>
          <p:nvSpPr>
            <p:cNvPr id="29" name="Flowchart: Collate 28"/>
            <p:cNvSpPr/>
            <p:nvPr/>
          </p:nvSpPr>
          <p:spPr>
            <a:xfrm>
              <a:off x="3946986" y="5865536"/>
              <a:ext cx="309685" cy="325120"/>
            </a:xfrm>
            <a:prstGeom prst="flowChartCollate">
              <a:avLst/>
            </a:pr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  <a:sym typeface="Calibri"/>
              </a:endParaRPr>
            </a:p>
          </p:txBody>
        </p:sp>
        <p:sp>
          <p:nvSpPr>
            <p:cNvPr id="30" name="Rectangle 29"/>
            <p:cNvSpPr/>
            <p:nvPr/>
          </p:nvSpPr>
          <p:spPr>
            <a:xfrm>
              <a:off x="799833" y="5321034"/>
              <a:ext cx="1068029" cy="8309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2700" cap="flat">
              <a:solidFill>
                <a:schemeClr val="accent1"/>
              </a:solidFill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Calibri"/>
                </a:rPr>
                <a:t>SMF terminates session on 5G PCF</a:t>
              </a:r>
              <a:endParaRPr kumimoji="0" lang="en-I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7925572" y="1959380"/>
              <a:ext cx="3785650" cy="4185759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none" lIns="45719" tIns="45719" rIns="45719" bIns="45719" numCol="1" spcCol="38100" rtlCol="0" anchor="t">
              <a:sp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Calibri"/>
                </a:rPr>
                <a:t>When RAT is NR</a:t>
              </a:r>
            </a:p>
            <a:p>
              <a:pPr marL="285750" marR="0" lvl="0" indent="-28575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 err="1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Calibri"/>
                </a:rPr>
                <a:t>gNB</a:t>
              </a:r>
              <a:r>
                <a:rPr kumimoji="0" lang="en-GB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Calibri"/>
                </a:rPr>
                <a:t> sends the registration request to AMF</a:t>
              </a:r>
            </a:p>
            <a:p>
              <a:pPr marL="285750" marR="0" lvl="0" indent="-28575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Calibri"/>
                </a:rPr>
                <a:t>AMF selects the PCF and SMF using NRF</a:t>
              </a:r>
            </a:p>
            <a:p>
              <a:pPr marL="285750" marR="0" lvl="0" indent="-28575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Calibri"/>
                </a:rPr>
                <a:t>SMF initiates Registration to PCF using N7</a:t>
              </a:r>
            </a:p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endParaRPr>
            </a:p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endParaRPr>
            </a:p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endParaRPr>
            </a:p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endParaRPr>
            </a:p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endParaRPr>
            </a:p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endParaRPr>
            </a:p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endParaRPr>
            </a:p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endParaRPr>
            </a:p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endParaRPr>
            </a:p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Calibri"/>
                </a:rPr>
                <a:t>When RAT changes to UTRAN, SMF+PGW-C </a:t>
              </a:r>
            </a:p>
            <a:p>
              <a:pPr marL="285750" marR="0" lvl="0" indent="-28575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Calibri"/>
                </a:rPr>
                <a:t>selects a PCRF in the LTE network</a:t>
              </a:r>
              <a:r>
                <a:rPr kumimoji="0" lang="en-IN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Calibri"/>
                </a:rPr>
                <a:t> </a:t>
              </a:r>
              <a:endPara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endParaRPr>
            </a:p>
            <a:p>
              <a:pPr marL="285750" marR="0" lvl="0" indent="-28575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Calibri"/>
                </a:rPr>
                <a:t>maps 5G </a:t>
              </a:r>
              <a:r>
                <a:rPr kumimoji="0" lang="en-GB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Calibri"/>
                </a:rPr>
                <a:t>parameters </a:t>
              </a: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Calibri"/>
                </a:rPr>
                <a:t>to 4G AVPs</a:t>
              </a:r>
            </a:p>
            <a:p>
              <a:pPr marL="285750" marR="0" lvl="0" indent="-28575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Calibri"/>
                </a:rPr>
                <a:t>initiates 4G Diameter session with </a:t>
              </a:r>
              <a:r>
                <a:rPr kumimoji="0" lang="en-GB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Calibri"/>
                </a:rPr>
                <a:t>PCRF</a:t>
              </a:r>
            </a:p>
            <a:p>
              <a:pPr marL="285750" marR="0" lvl="0" indent="-28575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Calibri"/>
                </a:rPr>
                <a:t>Terminates the 5G session towards PCF</a:t>
              </a:r>
              <a:endPara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endParaRPr>
            </a:p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825810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STL Combo PCRF+PCF</a:t>
            </a:r>
            <a:endParaRPr lang="en-IN" dirty="0"/>
          </a:p>
        </p:txBody>
      </p:sp>
      <p:grpSp>
        <p:nvGrpSpPr>
          <p:cNvPr id="4" name="Group 3"/>
          <p:cNvGrpSpPr/>
          <p:nvPr/>
        </p:nvGrpSpPr>
        <p:grpSpPr>
          <a:xfrm>
            <a:off x="463639" y="1080495"/>
            <a:ext cx="11335071" cy="5330137"/>
            <a:chOff x="463639" y="1080495"/>
            <a:chExt cx="11656349" cy="5726908"/>
          </a:xfrm>
        </p:grpSpPr>
        <p:sp>
          <p:nvSpPr>
            <p:cNvPr id="5" name="Rectangle 4"/>
            <p:cNvSpPr/>
            <p:nvPr/>
          </p:nvSpPr>
          <p:spPr>
            <a:xfrm>
              <a:off x="755374" y="1620078"/>
              <a:ext cx="6728791" cy="2047461"/>
            </a:xfrm>
            <a:prstGeom prst="rect">
              <a:avLst/>
            </a:prstGeom>
            <a:solidFill>
              <a:schemeClr val="bg2"/>
            </a:solidFill>
            <a:ln w="12700" cap="flat">
              <a:solidFill>
                <a:schemeClr val="accent1"/>
              </a:solidFill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  <a:sym typeface="Calibri"/>
              </a:endParaRPr>
            </a:p>
          </p:txBody>
        </p:sp>
        <p:sp>
          <p:nvSpPr>
            <p:cNvPr id="6" name="Rectangle 5"/>
            <p:cNvSpPr/>
            <p:nvPr/>
          </p:nvSpPr>
          <p:spPr>
            <a:xfrm>
              <a:off x="3345987" y="1080495"/>
              <a:ext cx="1570382" cy="369330"/>
            </a:xfrm>
            <a:prstGeom prst="rect">
              <a:avLst/>
            </a:prstGeom>
            <a:gradFill flip="none" rotWithShape="1">
              <a:gsLst>
                <a:gs pos="0">
                  <a:srgbClr val="92D050">
                    <a:tint val="66000"/>
                    <a:satMod val="160000"/>
                  </a:srgbClr>
                </a:gs>
                <a:gs pos="50000">
                  <a:srgbClr val="92D050">
                    <a:tint val="44500"/>
                    <a:satMod val="160000"/>
                  </a:srgbClr>
                </a:gs>
                <a:gs pos="100000">
                  <a:srgbClr val="92D050">
                    <a:tint val="23500"/>
                    <a:satMod val="160000"/>
                  </a:srgbClr>
                </a:gs>
              </a:gsLst>
              <a:path path="circle">
                <a:fillToRect l="50000" t="50000" r="50000" b="50000"/>
              </a:path>
              <a:tileRect/>
            </a:gradFill>
            <a:ln/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cs typeface="Calibri"/>
                  <a:sym typeface="Calibri"/>
                </a:rPr>
                <a:t>STL PCF+PCRF</a:t>
              </a: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cs typeface="Calibri"/>
                <a:sym typeface="Calibri"/>
              </a:endParaRPr>
            </a:p>
          </p:txBody>
        </p:sp>
        <p:cxnSp>
          <p:nvCxnSpPr>
            <p:cNvPr id="7" name="Straight Connector 6"/>
            <p:cNvCxnSpPr>
              <a:stCxn id="6" idx="2"/>
            </p:cNvCxnSpPr>
            <p:nvPr/>
          </p:nvCxnSpPr>
          <p:spPr>
            <a:xfrm>
              <a:off x="4131178" y="1449825"/>
              <a:ext cx="53196" cy="5220367"/>
            </a:xfrm>
            <a:prstGeom prst="line">
              <a:avLst/>
            </a:prstGeom>
            <a:solidFill>
              <a:schemeClr val="accent6">
                <a:lumMod val="20000"/>
                <a:lumOff val="80000"/>
              </a:schemeClr>
            </a:solidFill>
            <a:ln/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</p:cxnSp>
        <p:sp>
          <p:nvSpPr>
            <p:cNvPr id="8" name="Rectangle 7"/>
            <p:cNvSpPr/>
            <p:nvPr/>
          </p:nvSpPr>
          <p:spPr>
            <a:xfrm>
              <a:off x="463639" y="1080495"/>
              <a:ext cx="1570382" cy="369330"/>
            </a:xfrm>
            <a:prstGeom prst="rect">
              <a:avLst/>
            </a:prstGeom>
            <a:gradFill flip="none" rotWithShape="1">
              <a:gsLst>
                <a:gs pos="0">
                  <a:srgbClr val="92D050">
                    <a:tint val="66000"/>
                    <a:satMod val="160000"/>
                  </a:srgbClr>
                </a:gs>
                <a:gs pos="50000">
                  <a:srgbClr val="92D050">
                    <a:tint val="44500"/>
                    <a:satMod val="160000"/>
                  </a:srgbClr>
                </a:gs>
                <a:gs pos="100000">
                  <a:srgbClr val="92D050">
                    <a:tint val="23500"/>
                    <a:satMod val="160000"/>
                  </a:srgbClr>
                </a:gs>
              </a:gsLst>
              <a:path path="circle">
                <a:fillToRect l="50000" t="50000" r="50000" b="50000"/>
              </a:path>
              <a:tileRect/>
            </a:gradFill>
            <a:ln/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cs typeface="Calibri"/>
                  <a:sym typeface="Calibri"/>
                </a:rPr>
                <a:t>SMF+PGW-C</a:t>
              </a: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cs typeface="Calibri"/>
                <a:sym typeface="Calibri"/>
              </a:endParaRPr>
            </a:p>
          </p:txBody>
        </p:sp>
        <p:cxnSp>
          <p:nvCxnSpPr>
            <p:cNvPr id="9" name="Straight Connector 8"/>
            <p:cNvCxnSpPr>
              <a:stCxn id="8" idx="2"/>
            </p:cNvCxnSpPr>
            <p:nvPr/>
          </p:nvCxnSpPr>
          <p:spPr>
            <a:xfrm flipH="1">
              <a:off x="1242391" y="1449825"/>
              <a:ext cx="6439" cy="5220367"/>
            </a:xfrm>
            <a:prstGeom prst="line">
              <a:avLst/>
            </a:prstGeom>
            <a:ln/>
          </p:spPr>
          <p:style>
            <a:lnRef idx="2">
              <a:schemeClr val="accent3"/>
            </a:lnRef>
            <a:fillRef idx="0">
              <a:schemeClr val="accent3"/>
            </a:fillRef>
            <a:effectRef idx="1">
              <a:schemeClr val="accent3"/>
            </a:effectRef>
            <a:fontRef idx="minor">
              <a:schemeClr val="tx1"/>
            </a:fontRef>
          </p:style>
        </p:cxnSp>
        <p:sp>
          <p:nvSpPr>
            <p:cNvPr id="10" name="Rectangle 9"/>
            <p:cNvSpPr/>
            <p:nvPr/>
          </p:nvSpPr>
          <p:spPr>
            <a:xfrm>
              <a:off x="6152135" y="1080495"/>
              <a:ext cx="1570382" cy="369330"/>
            </a:xfrm>
            <a:prstGeom prst="rect">
              <a:avLst/>
            </a:prstGeom>
            <a:gradFill flip="none" rotWithShape="1">
              <a:gsLst>
                <a:gs pos="0">
                  <a:srgbClr val="92D050">
                    <a:tint val="66000"/>
                    <a:satMod val="160000"/>
                  </a:srgbClr>
                </a:gs>
                <a:gs pos="50000">
                  <a:srgbClr val="92D050">
                    <a:tint val="44500"/>
                    <a:satMod val="160000"/>
                  </a:srgbClr>
                </a:gs>
                <a:gs pos="100000">
                  <a:srgbClr val="92D050">
                    <a:tint val="23500"/>
                    <a:satMod val="160000"/>
                  </a:srgbClr>
                </a:gs>
              </a:gsLst>
              <a:path path="circle">
                <a:fillToRect l="50000" t="50000" r="50000" b="50000"/>
              </a:path>
              <a:tileRect/>
            </a:gradFill>
            <a:ln/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cs typeface="Calibri"/>
                  <a:sym typeface="Calibri"/>
                </a:rPr>
                <a:t>STL UDR+SPR</a:t>
              </a: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cs typeface="Calibri"/>
                <a:sym typeface="Calibri"/>
              </a:endParaRPr>
            </a:p>
          </p:txBody>
        </p:sp>
        <p:cxnSp>
          <p:nvCxnSpPr>
            <p:cNvPr id="11" name="Straight Connector 10"/>
            <p:cNvCxnSpPr>
              <a:stCxn id="10" idx="2"/>
            </p:cNvCxnSpPr>
            <p:nvPr/>
          </p:nvCxnSpPr>
          <p:spPr>
            <a:xfrm>
              <a:off x="6937326" y="1449825"/>
              <a:ext cx="53196" cy="5220367"/>
            </a:xfrm>
            <a:prstGeom prst="line">
              <a:avLst/>
            </a:prstGeom>
            <a:solidFill>
              <a:schemeClr val="accent6">
                <a:lumMod val="20000"/>
                <a:lumOff val="80000"/>
              </a:schemeClr>
            </a:solidFill>
            <a:ln/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</p:cxnSp>
        <p:cxnSp>
          <p:nvCxnSpPr>
            <p:cNvPr id="12" name="Straight Arrow Connector 11"/>
            <p:cNvCxnSpPr/>
            <p:nvPr/>
          </p:nvCxnSpPr>
          <p:spPr>
            <a:xfrm flipV="1">
              <a:off x="1272209" y="2266121"/>
              <a:ext cx="2882348" cy="9940"/>
            </a:xfrm>
            <a:prstGeom prst="straightConnector1">
              <a:avLst/>
            </a:prstGeom>
            <a:ln>
              <a:tailEnd type="triangle"/>
            </a:ln>
          </p:spPr>
          <p:style>
            <a:lnRef idx="2">
              <a:schemeClr val="accent3"/>
            </a:lnRef>
            <a:fillRef idx="0">
              <a:schemeClr val="accent3"/>
            </a:fillRef>
            <a:effectRef idx="1">
              <a:schemeClr val="accent3"/>
            </a:effectRef>
            <a:fontRef idx="minor">
              <a:schemeClr val="tx1"/>
            </a:fontRef>
          </p:style>
        </p:cxnSp>
        <p:sp>
          <p:nvSpPr>
            <p:cNvPr id="13" name="Rectangle 12"/>
            <p:cNvSpPr/>
            <p:nvPr/>
          </p:nvSpPr>
          <p:spPr>
            <a:xfrm>
              <a:off x="6281531" y="1633234"/>
              <a:ext cx="1207176" cy="461663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2700" cap="flat">
              <a:solidFill>
                <a:schemeClr val="accent1"/>
              </a:solidFill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Calibri"/>
                </a:rPr>
                <a:t>5G sub latches on to NR</a:t>
              </a:r>
              <a:endParaRPr kumimoji="0" lang="en-I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1591201" y="1721563"/>
              <a:ext cx="2147381" cy="41549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none" lIns="45719" tIns="45719" rIns="45719" bIns="45719" numCol="1" spcCol="38100" rtlCol="0" anchor="t">
              <a:spAutoFit/>
            </a:bodyPr>
            <a:lstStyle/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5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Calibri"/>
                </a:rPr>
                <a:t>5G Registration and PDU session </a:t>
              </a:r>
            </a:p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5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Calibri"/>
                </a:rPr>
                <a:t>establishment using N7 SBI</a:t>
              </a:r>
              <a:endParaRPr kumimoji="0" lang="en-IN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endParaRPr>
            </a:p>
          </p:txBody>
        </p:sp>
        <p:cxnSp>
          <p:nvCxnSpPr>
            <p:cNvPr id="15" name="Straight Arrow Connector 14"/>
            <p:cNvCxnSpPr/>
            <p:nvPr/>
          </p:nvCxnSpPr>
          <p:spPr>
            <a:xfrm flipV="1">
              <a:off x="4119676" y="2628824"/>
              <a:ext cx="2882348" cy="9940"/>
            </a:xfrm>
            <a:prstGeom prst="straightConnector1">
              <a:avLst/>
            </a:prstGeom>
            <a:ln>
              <a:headEnd type="arrow" w="med" len="med"/>
              <a:tailEnd type="arrow" w="med" len="med"/>
            </a:ln>
          </p:spPr>
          <p:style>
            <a:lnRef idx="2">
              <a:schemeClr val="accent3"/>
            </a:lnRef>
            <a:fillRef idx="0">
              <a:schemeClr val="accent3"/>
            </a:fillRef>
            <a:effectRef idx="1">
              <a:schemeClr val="accent3"/>
            </a:effectRef>
            <a:fontRef idx="minor">
              <a:schemeClr val="tx1"/>
            </a:fontRef>
          </p:style>
        </p:cxnSp>
        <p:sp>
          <p:nvSpPr>
            <p:cNvPr id="16" name="TextBox 15"/>
            <p:cNvSpPr txBox="1"/>
            <p:nvPr/>
          </p:nvSpPr>
          <p:spPr>
            <a:xfrm>
              <a:off x="4312725" y="2183225"/>
              <a:ext cx="2475997" cy="41549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none" lIns="45719" tIns="45719" rIns="45719" bIns="45719" numCol="1" spcCol="38100" rtlCol="0" anchor="t">
              <a:spAutoFit/>
            </a:bodyPr>
            <a:lstStyle/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5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Calibri"/>
                </a:rPr>
                <a:t>PCF uses subscriber’s 5G Policy Profile</a:t>
              </a:r>
            </a:p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5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Calibri"/>
                </a:rPr>
                <a:t> in UDR</a:t>
              </a:r>
              <a:endParaRPr kumimoji="0" lang="en-IN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endParaRPr>
            </a:p>
          </p:txBody>
        </p:sp>
        <p:cxnSp>
          <p:nvCxnSpPr>
            <p:cNvPr id="17" name="Straight Arrow Connector 16"/>
            <p:cNvCxnSpPr/>
            <p:nvPr/>
          </p:nvCxnSpPr>
          <p:spPr>
            <a:xfrm flipH="1">
              <a:off x="1219013" y="3519077"/>
              <a:ext cx="2900663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2">
              <a:schemeClr val="accent3"/>
            </a:lnRef>
            <a:fillRef idx="0">
              <a:schemeClr val="accent3"/>
            </a:fillRef>
            <a:effectRef idx="1">
              <a:schemeClr val="accent3"/>
            </a:effectRef>
            <a:fontRef idx="minor">
              <a:schemeClr val="tx1"/>
            </a:fontRef>
          </p:style>
        </p:cxnSp>
        <p:sp>
          <p:nvSpPr>
            <p:cNvPr id="18" name="TextBox 17"/>
            <p:cNvSpPr txBox="1"/>
            <p:nvPr/>
          </p:nvSpPr>
          <p:spPr>
            <a:xfrm>
              <a:off x="1499030" y="3187659"/>
              <a:ext cx="2331727" cy="253914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none" lIns="45719" tIns="45719" rIns="45719" bIns="45719" numCol="1" spcCol="38100" rtlCol="0" anchor="t">
              <a:spAutoFit/>
            </a:bodyPr>
            <a:lstStyle/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5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Calibri"/>
                </a:rPr>
                <a:t>Apply Policies for 5G Session to SMF</a:t>
              </a:r>
              <a:endParaRPr kumimoji="0" lang="en-IN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765314" y="4343399"/>
              <a:ext cx="6723394" cy="2464004"/>
            </a:xfrm>
            <a:prstGeom prst="rect">
              <a:avLst/>
            </a:prstGeom>
            <a:solidFill>
              <a:schemeClr val="bg2"/>
            </a:solidFill>
            <a:ln w="12700" cap="flat">
              <a:solidFill>
                <a:schemeClr val="accent1"/>
              </a:solidFill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  <a:sym typeface="Calibri"/>
              </a:endParaRPr>
            </a:p>
          </p:txBody>
        </p:sp>
        <p:cxnSp>
          <p:nvCxnSpPr>
            <p:cNvPr id="20" name="Straight Connector 19"/>
            <p:cNvCxnSpPr/>
            <p:nvPr/>
          </p:nvCxnSpPr>
          <p:spPr>
            <a:xfrm flipH="1">
              <a:off x="4157588" y="4173146"/>
              <a:ext cx="13346" cy="2227654"/>
            </a:xfrm>
            <a:prstGeom prst="line">
              <a:avLst/>
            </a:prstGeom>
            <a:ln/>
          </p:spPr>
          <p:style>
            <a:lnRef idx="2">
              <a:schemeClr val="accent3"/>
            </a:lnRef>
            <a:fillRef idx="0">
              <a:schemeClr val="accent3"/>
            </a:fillRef>
            <a:effectRef idx="1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1242391" y="4084081"/>
              <a:ext cx="6439" cy="2416109"/>
            </a:xfrm>
            <a:prstGeom prst="line">
              <a:avLst/>
            </a:prstGeom>
            <a:ln/>
          </p:spPr>
          <p:style>
            <a:lnRef idx="2">
              <a:schemeClr val="accent3"/>
            </a:lnRef>
            <a:fillRef idx="0">
              <a:schemeClr val="accent3"/>
            </a:fillRef>
            <a:effectRef idx="1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/>
          </p:nvCxnSpPr>
          <p:spPr>
            <a:xfrm>
              <a:off x="6967143" y="4282475"/>
              <a:ext cx="29911" cy="2217714"/>
            </a:xfrm>
            <a:prstGeom prst="line">
              <a:avLst/>
            </a:prstGeom>
            <a:ln/>
          </p:spPr>
          <p:style>
            <a:lnRef idx="2">
              <a:schemeClr val="accent3"/>
            </a:lnRef>
            <a:fillRef idx="0">
              <a:schemeClr val="accent3"/>
            </a:fillRef>
            <a:effectRef idx="1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23" name="Straight Arrow Connector 22"/>
            <p:cNvCxnSpPr/>
            <p:nvPr/>
          </p:nvCxnSpPr>
          <p:spPr>
            <a:xfrm flipV="1">
              <a:off x="1262270" y="5098771"/>
              <a:ext cx="2882348" cy="9940"/>
            </a:xfrm>
            <a:prstGeom prst="straightConnector1">
              <a:avLst/>
            </a:prstGeom>
            <a:ln>
              <a:tailEnd type="triangle"/>
            </a:ln>
          </p:spPr>
          <p:style>
            <a:lnRef idx="2">
              <a:schemeClr val="accent3"/>
            </a:lnRef>
            <a:fillRef idx="0">
              <a:schemeClr val="accent3"/>
            </a:fillRef>
            <a:effectRef idx="1">
              <a:schemeClr val="accent3"/>
            </a:effectRef>
            <a:fontRef idx="minor">
              <a:schemeClr val="tx1"/>
            </a:fontRef>
          </p:style>
        </p:cxnSp>
        <p:sp>
          <p:nvSpPr>
            <p:cNvPr id="24" name="Rectangle 23"/>
            <p:cNvSpPr/>
            <p:nvPr/>
          </p:nvSpPr>
          <p:spPr>
            <a:xfrm>
              <a:off x="6311348" y="4356555"/>
              <a:ext cx="1167420" cy="461663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2700" cap="flat">
              <a:solidFill>
                <a:schemeClr val="accent1"/>
              </a:solidFill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Calibri"/>
                </a:rPr>
                <a:t>5G sub moves to LTE</a:t>
              </a:r>
              <a:endParaRPr kumimoji="0" lang="en-I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25" name="TextBox 24"/>
            <p:cNvSpPr txBox="1"/>
            <p:nvPr/>
          </p:nvSpPr>
          <p:spPr>
            <a:xfrm>
              <a:off x="1545195" y="4836602"/>
              <a:ext cx="2219516" cy="253914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none" lIns="45719" tIns="45719" rIns="45719" bIns="45719" numCol="1" spcCol="38100" rtlCol="0" anchor="t">
              <a:spAutoFit/>
            </a:bodyPr>
            <a:lstStyle/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5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Calibri"/>
                </a:rPr>
                <a:t>Update the RAT Type using N7 SBI</a:t>
              </a:r>
            </a:p>
          </p:txBody>
        </p:sp>
        <p:cxnSp>
          <p:nvCxnSpPr>
            <p:cNvPr id="26" name="Straight Arrow Connector 25"/>
            <p:cNvCxnSpPr/>
            <p:nvPr/>
          </p:nvCxnSpPr>
          <p:spPr>
            <a:xfrm flipH="1">
              <a:off x="1209074" y="5925007"/>
              <a:ext cx="2900663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2">
              <a:schemeClr val="accent3"/>
            </a:lnRef>
            <a:fillRef idx="0">
              <a:schemeClr val="accent3"/>
            </a:fillRef>
            <a:effectRef idx="1">
              <a:schemeClr val="accent3"/>
            </a:effectRef>
            <a:fontRef idx="minor">
              <a:schemeClr val="tx1"/>
            </a:fontRef>
          </p:style>
        </p:cxnSp>
        <p:sp>
          <p:nvSpPr>
            <p:cNvPr id="27" name="TextBox 26"/>
            <p:cNvSpPr txBox="1"/>
            <p:nvPr/>
          </p:nvSpPr>
          <p:spPr>
            <a:xfrm>
              <a:off x="1489098" y="5659048"/>
              <a:ext cx="2331727" cy="253914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none" lIns="45719" tIns="45719" rIns="45719" bIns="45719" numCol="1" spcCol="38100" rtlCol="0" anchor="t">
              <a:spAutoFit/>
            </a:bodyPr>
            <a:lstStyle/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5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Calibri"/>
                </a:rPr>
                <a:t>Apply Policies for 4G Session to SMF</a:t>
              </a:r>
              <a:endParaRPr kumimoji="0" lang="en-IN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28" name="Rectangle 27"/>
            <p:cNvSpPr/>
            <p:nvPr/>
          </p:nvSpPr>
          <p:spPr>
            <a:xfrm>
              <a:off x="813200" y="4386073"/>
              <a:ext cx="1815862" cy="461663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2700" cap="flat">
              <a:solidFill>
                <a:schemeClr val="accent1"/>
              </a:solidFill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Calibri"/>
                </a:rPr>
                <a:t>On detection of RAT-Type change</a:t>
              </a:r>
              <a:endParaRPr kumimoji="0" lang="en-I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29" name="Flowchart: Collate 28"/>
            <p:cNvSpPr/>
            <p:nvPr/>
          </p:nvSpPr>
          <p:spPr>
            <a:xfrm>
              <a:off x="4003040" y="2936240"/>
              <a:ext cx="309685" cy="325120"/>
            </a:xfrm>
            <a:prstGeom prst="flowChartCollate">
              <a:avLst/>
            </a:pr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  <a:sym typeface="Calibri"/>
              </a:endParaRPr>
            </a:p>
          </p:txBody>
        </p:sp>
        <p:sp>
          <p:nvSpPr>
            <p:cNvPr id="30" name="Flowchart: Collate 29"/>
            <p:cNvSpPr/>
            <p:nvPr/>
          </p:nvSpPr>
          <p:spPr>
            <a:xfrm>
              <a:off x="4013200" y="5313680"/>
              <a:ext cx="309685" cy="325120"/>
            </a:xfrm>
            <a:prstGeom prst="flowChartCollate">
              <a:avLst/>
            </a:pr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  <a:sym typeface="Calibri"/>
              </a:endParaRPr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7925572" y="1959380"/>
              <a:ext cx="4194416" cy="397031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none" lIns="45719" tIns="45719" rIns="45719" bIns="45719" numCol="1" spcCol="38100" rtlCol="0" anchor="t">
              <a:sp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Calibri"/>
                </a:rPr>
                <a:t>When RAT is NR</a:t>
              </a:r>
            </a:p>
            <a:p>
              <a:pPr marL="285750" marR="0" lvl="0" indent="-28575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 err="1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Calibri"/>
                </a:rPr>
                <a:t>gNB</a:t>
              </a:r>
              <a:r>
                <a:rPr kumimoji="0" lang="en-GB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Calibri"/>
                </a:rPr>
                <a:t> sends the registration request to AMF</a:t>
              </a:r>
            </a:p>
            <a:p>
              <a:pPr marL="285750" marR="0" lvl="0" indent="-28575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Calibri"/>
                </a:rPr>
                <a:t>AMF selects the PCF and SMF using NRF</a:t>
              </a:r>
            </a:p>
            <a:p>
              <a:pPr marL="285750" marR="0" lvl="0" indent="-28575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Calibri"/>
                </a:rPr>
                <a:t>SMF initiates Session Creation to PCF using N7</a:t>
              </a:r>
            </a:p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endParaRPr>
            </a:p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endParaRPr>
            </a:p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endParaRPr>
            </a:p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endParaRPr>
            </a:p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endParaRPr>
            </a:p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endParaRPr>
            </a:p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endParaRPr>
            </a:p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endParaRPr>
            </a:p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endParaRPr>
            </a:p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Calibri"/>
                </a:rPr>
                <a:t>When the RAT changes to LTE, SMF+PGW-C </a:t>
              </a:r>
            </a:p>
            <a:p>
              <a:pPr marL="285750" marR="0" lvl="0" indent="-28575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Calibri"/>
                </a:rPr>
                <a:t>Triggers N7 Session Update service operation </a:t>
              </a:r>
              <a:endPara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endParaRPr>
            </a:p>
            <a:p>
              <a:pPr marL="285750" marR="0" lvl="0" indent="-28575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Calibri"/>
                </a:rPr>
                <a:t>Updates the RAT-Type to EUTRAN</a:t>
              </a:r>
              <a:endPara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endParaRPr>
            </a:p>
            <a:p>
              <a:pPr marL="285750" marR="0" lvl="0" indent="-28575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Calibri"/>
                </a:rPr>
                <a:t>No Diameter session with PCRF is initiated</a:t>
              </a:r>
              <a:endPara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endParaRPr>
            </a:p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578435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2"/>
          <p:cNvSpPr>
            <a:spLocks noGrp="1"/>
          </p:cNvSpPr>
          <p:nvPr>
            <p:ph type="title"/>
          </p:nvPr>
        </p:nvSpPr>
        <p:spPr>
          <a:xfrm>
            <a:off x="452852" y="294639"/>
            <a:ext cx="11637548" cy="549275"/>
          </a:xfrm>
        </p:spPr>
        <p:txBody>
          <a:bodyPr>
            <a:normAutofit/>
          </a:bodyPr>
          <a:lstStyle/>
          <a:p>
            <a:r>
              <a:rPr lang="en-US" dirty="0"/>
              <a:t>STL PCRF / PCF on ODA Canvas : Demo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idx="4294967295"/>
          </p:nvPr>
        </p:nvSpPr>
        <p:spPr>
          <a:xfrm>
            <a:off x="452852" y="1209087"/>
            <a:ext cx="4939392" cy="5194670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en-US" sz="1350" dirty="0" smtClean="0">
                <a:latin typeface="Arial" panose="020B0604020202020204" pitchFamily="34" charset="0"/>
                <a:cs typeface="Arial" panose="020B0604020202020204" pitchFamily="34" charset="0"/>
              </a:rPr>
              <a:t>Deployment of ODA Canvas on STL Cloud Native Platform</a:t>
            </a:r>
          </a:p>
          <a:p>
            <a:r>
              <a:rPr lang="en-US" sz="1350" dirty="0" smtClean="0">
                <a:latin typeface="Arial" panose="020B0604020202020204" pitchFamily="34" charset="0"/>
                <a:cs typeface="Arial" panose="020B0604020202020204" pitchFamily="34" charset="0"/>
              </a:rPr>
              <a:t>Deployment of STL PCRF / </a:t>
            </a:r>
            <a:r>
              <a:rPr lang="en-US" sz="135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dPCC</a:t>
            </a:r>
            <a:r>
              <a:rPr lang="en-US" sz="1350" dirty="0" smtClean="0">
                <a:latin typeface="Arial" panose="020B0604020202020204" pitchFamily="34" charset="0"/>
                <a:cs typeface="Arial" panose="020B0604020202020204" pitchFamily="34" charset="0"/>
              </a:rPr>
              <a:t> and STL PCF on ODA Canvas</a:t>
            </a:r>
          </a:p>
          <a:p>
            <a:pPr marL="628650" lvl="1" indent="-171450">
              <a:buFont typeface="Courier New" panose="02070309020205020404" pitchFamily="49" charset="0"/>
              <a:buChar char="o"/>
            </a:pPr>
            <a:r>
              <a:rPr lang="en-US" sz="1350" dirty="0" err="1">
                <a:latin typeface="Arial" panose="020B0604020202020204" pitchFamily="34" charset="0"/>
                <a:cs typeface="Arial" panose="020B0604020202020204" pitchFamily="34" charset="0"/>
              </a:rPr>
              <a:t>dpcc-netvertex</a:t>
            </a:r>
            <a:r>
              <a:rPr lang="en-US" sz="1350" dirty="0">
                <a:latin typeface="Arial" panose="020B0604020202020204" pitchFamily="34" charset="0"/>
                <a:cs typeface="Arial" panose="020B0604020202020204" pitchFamily="34" charset="0"/>
              </a:rPr>
              <a:t> is the 4G PCRF deployment and 4gdpcc is generated from Helm Template</a:t>
            </a:r>
          </a:p>
          <a:p>
            <a:r>
              <a:rPr lang="en-US" sz="1350" dirty="0" smtClean="0">
                <a:latin typeface="Arial" panose="020B0604020202020204" pitchFamily="34" charset="0"/>
                <a:cs typeface="Arial" panose="020B0604020202020204" pitchFamily="34" charset="0"/>
              </a:rPr>
              <a:t>ODA Component Envelope definition for the deployment</a:t>
            </a:r>
          </a:p>
          <a:p>
            <a:pPr marL="628650" lvl="1" indent="-171450">
              <a:buFont typeface="Courier New" panose="02070309020205020404" pitchFamily="49" charset="0"/>
              <a:buChar char="o"/>
            </a:pPr>
            <a:r>
              <a:rPr lang="en-US" sz="1350" dirty="0">
                <a:latin typeface="Arial" panose="020B0604020202020204" pitchFamily="34" charset="0"/>
                <a:cs typeface="Arial" panose="020B0604020202020204" pitchFamily="34" charset="0"/>
              </a:rPr>
              <a:t>TMFC013 Service Balance Management Golden Component (TMFC013 Definition in-progress currently</a:t>
            </a:r>
            <a:r>
              <a:rPr lang="en-US" sz="1350" dirty="0" smtClean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marL="628650" lvl="1" indent="-171450">
              <a:buFont typeface="Courier New" panose="02070309020205020404" pitchFamily="49" charset="0"/>
              <a:buChar char="o"/>
            </a:pPr>
            <a:r>
              <a:rPr lang="en-US" sz="1350" dirty="0" smtClean="0">
                <a:latin typeface="Arial" panose="020B0604020202020204" pitchFamily="34" charset="0"/>
                <a:cs typeface="Arial" panose="020B0604020202020204" pitchFamily="34" charset="0"/>
              </a:rPr>
              <a:t>TMF 654 Prepay Balance Management API as Exposed API</a:t>
            </a:r>
          </a:p>
          <a:p>
            <a:r>
              <a:rPr lang="en-US" sz="1350" dirty="0" smtClean="0">
                <a:latin typeface="Arial" panose="020B0604020202020204" pitchFamily="34" charset="0"/>
                <a:cs typeface="Arial" panose="020B0604020202020204" pitchFamily="34" charset="0"/>
              </a:rPr>
              <a:t>L1 Static Test and L2 Static Test for the deployment</a:t>
            </a:r>
          </a:p>
          <a:p>
            <a:r>
              <a:rPr lang="en-US" sz="1350" dirty="0" smtClean="0">
                <a:latin typeface="Arial" panose="020B0604020202020204" pitchFamily="34" charset="0"/>
                <a:cs typeface="Arial" panose="020B0604020202020204" pitchFamily="34" charset="0"/>
              </a:rPr>
              <a:t>PCRF / PCF UIs configurations on the ODA Canvas</a:t>
            </a:r>
          </a:p>
          <a:p>
            <a:r>
              <a:rPr lang="en-US" sz="1350" dirty="0" smtClean="0">
                <a:latin typeface="Arial" panose="020B0604020202020204" pitchFamily="34" charset="0"/>
                <a:cs typeface="Arial" panose="020B0604020202020204" pitchFamily="34" charset="0"/>
              </a:rPr>
              <a:t>Live 4G Diameter, 5G HTTP2 Traffic on ODA Canvas</a:t>
            </a:r>
          </a:p>
          <a:p>
            <a:r>
              <a:rPr lang="en-US" sz="1350" dirty="0" smtClean="0">
                <a:latin typeface="Arial" panose="020B0604020202020204" pitchFamily="34" charset="0"/>
                <a:cs typeface="Arial" panose="020B0604020202020204" pitchFamily="34" charset="0"/>
              </a:rPr>
              <a:t>Demo URL </a:t>
            </a:r>
            <a:r>
              <a:rPr lang="en-US" sz="1350" dirty="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en-US" sz="1350" dirty="0"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https://</a:t>
            </a:r>
            <a:r>
              <a:rPr lang="en-US" sz="1350" dirty="0" smtClean="0"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drive.google.com/file/d/1XpW8SD9v-UGmqBcu-y5S40Yl7DxBmy6v/view</a:t>
            </a:r>
            <a:r>
              <a:rPr lang="en-US" sz="135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sz="135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92244" y="1710505"/>
            <a:ext cx="6698156" cy="39037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51727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067034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EC42CC2-836C-8F5D-1F68-789451F26E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genda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75511E2-01FB-A61C-FE55-CB22A64349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STL </a:t>
            </a:r>
            <a:r>
              <a:rPr lang="en-US" dirty="0" smtClean="0"/>
              <a:t>Digital Policy Control &amp; Charging (</a:t>
            </a:r>
            <a:r>
              <a:rPr lang="en-US" dirty="0" err="1" smtClean="0"/>
              <a:t>dPCC</a:t>
            </a:r>
            <a:r>
              <a:rPr lang="en-US" dirty="0" smtClean="0"/>
              <a:t>) </a:t>
            </a:r>
            <a:r>
              <a:rPr lang="en-US" dirty="0"/>
              <a:t>for </a:t>
            </a:r>
            <a:r>
              <a:rPr lang="en-US" dirty="0" smtClean="0"/>
              <a:t>Balance </a:t>
            </a:r>
            <a:r>
              <a:rPr lang="en-US" dirty="0"/>
              <a:t>Management</a:t>
            </a:r>
          </a:p>
          <a:p>
            <a:r>
              <a:rPr lang="en-US" dirty="0"/>
              <a:t>STL </a:t>
            </a:r>
            <a:r>
              <a:rPr lang="en-US" dirty="0" smtClean="0"/>
              <a:t>PCRF, PCF (</a:t>
            </a:r>
            <a:r>
              <a:rPr lang="en-US" dirty="0" err="1" smtClean="0"/>
              <a:t>dPCC</a:t>
            </a:r>
            <a:r>
              <a:rPr lang="en-US" dirty="0" smtClean="0"/>
              <a:t>) </a:t>
            </a:r>
            <a:r>
              <a:rPr lang="en-US" dirty="0"/>
              <a:t>ODA Component Envelope</a:t>
            </a:r>
          </a:p>
          <a:p>
            <a:r>
              <a:rPr lang="en-US" dirty="0" smtClean="0"/>
              <a:t>ODA Canvas deployment on STL Cloud Native Platform</a:t>
            </a:r>
          </a:p>
          <a:p>
            <a:r>
              <a:rPr lang="en-US" dirty="0" smtClean="0"/>
              <a:t>STL PCRF, PCF deployment on ODA Canvas</a:t>
            </a:r>
            <a:endParaRPr lang="en-US" dirty="0"/>
          </a:p>
          <a:p>
            <a:r>
              <a:rPr lang="en-US" dirty="0" smtClean="0"/>
              <a:t>Reference implementation</a:t>
            </a:r>
            <a:endParaRPr lang="en-US" dirty="0"/>
          </a:p>
          <a:p>
            <a:pPr lvl="1"/>
            <a:r>
              <a:rPr lang="en-GB" dirty="0"/>
              <a:t>TMF and 3GPP Interworking </a:t>
            </a:r>
            <a:r>
              <a:rPr lang="en-US" dirty="0" smtClean="0"/>
              <a:t>(TMFC013)</a:t>
            </a:r>
          </a:p>
          <a:p>
            <a:pPr lvl="1"/>
            <a:r>
              <a:rPr lang="en-US" dirty="0" smtClean="0"/>
              <a:t>STL Combo PCRF+PCF</a:t>
            </a:r>
          </a:p>
          <a:p>
            <a:pPr lvl="1"/>
            <a:r>
              <a:rPr lang="en-US" dirty="0" smtClean="0"/>
              <a:t>Demonstration</a:t>
            </a:r>
          </a:p>
          <a:p>
            <a:pPr lvl="1"/>
            <a:endParaRPr lang="en-US" dirty="0" smtClean="0"/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83597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L dPCC for </a:t>
            </a:r>
            <a:r>
              <a:rPr lang="en-US" dirty="0" smtClean="0"/>
              <a:t>Balance Management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6593" y="763840"/>
            <a:ext cx="10670985" cy="5698606"/>
          </a:xfrm>
          <a:prstGeom prst="rect">
            <a:avLst/>
          </a:prstGeom>
        </p:spPr>
      </p:pic>
      <p:sp>
        <p:nvSpPr>
          <p:cNvPr id="5" name="Hexagon 4"/>
          <p:cNvSpPr/>
          <p:nvPr/>
        </p:nvSpPr>
        <p:spPr>
          <a:xfrm>
            <a:off x="4358937" y="6138323"/>
            <a:ext cx="265471" cy="213405"/>
          </a:xfrm>
          <a:prstGeom prst="hexagon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6" name="TextBox 5"/>
          <p:cNvSpPr txBox="1"/>
          <p:nvPr/>
        </p:nvSpPr>
        <p:spPr>
          <a:xfrm>
            <a:off x="4656872" y="6101988"/>
            <a:ext cx="12916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00" dirty="0" smtClean="0"/>
              <a:t>Modules of </a:t>
            </a:r>
            <a:r>
              <a:rPr lang="en-GB" sz="900" dirty="0" err="1" smtClean="0"/>
              <a:t>dPCC</a:t>
            </a:r>
            <a:endParaRPr lang="en-IN" sz="900" dirty="0"/>
          </a:p>
        </p:txBody>
      </p:sp>
    </p:spTree>
    <p:extLst>
      <p:ext uri="{BB962C8B-B14F-4D97-AF65-F5344CB8AC3E}">
        <p14:creationId xmlns:p14="http://schemas.microsoft.com/office/powerpoint/2010/main" val="26157722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2"/>
          <p:cNvSpPr>
            <a:spLocks noGrp="1"/>
          </p:cNvSpPr>
          <p:nvPr>
            <p:ph type="title"/>
          </p:nvPr>
        </p:nvSpPr>
        <p:spPr>
          <a:xfrm>
            <a:off x="452852" y="294639"/>
            <a:ext cx="11637548" cy="549275"/>
          </a:xfrm>
        </p:spPr>
        <p:txBody>
          <a:bodyPr>
            <a:normAutofit/>
          </a:bodyPr>
          <a:lstStyle/>
          <a:p>
            <a:r>
              <a:rPr lang="en-US" dirty="0"/>
              <a:t>STL PCRF, PCF ODA Component Envelope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804890" y="843914"/>
            <a:ext cx="10738180" cy="5820697"/>
            <a:chOff x="145437" y="713137"/>
            <a:chExt cx="12048712" cy="6604235"/>
          </a:xfrm>
        </p:grpSpPr>
        <p:pic>
          <p:nvPicPr>
            <p:cNvPr id="22" name="Picture 21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275563" y="4256220"/>
              <a:ext cx="6918586" cy="2529013"/>
            </a:xfrm>
            <a:prstGeom prst="rect">
              <a:avLst/>
            </a:prstGeom>
          </p:spPr>
        </p:pic>
        <p:pic>
          <p:nvPicPr>
            <p:cNvPr id="23" name="Picture 22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277067" y="843913"/>
              <a:ext cx="6873599" cy="3390371"/>
            </a:xfrm>
            <a:prstGeom prst="rect">
              <a:avLst/>
            </a:prstGeom>
          </p:spPr>
        </p:pic>
        <p:pic>
          <p:nvPicPr>
            <p:cNvPr id="24" name="Picture 23" descr="Diagram, shape&#10;&#10;Description automatically generated">
              <a:extLst>
                <a:ext uri="{FF2B5EF4-FFF2-40B4-BE49-F238E27FC236}">
                  <a16:creationId xmlns:a16="http://schemas.microsoft.com/office/drawing/2014/main" id="{5F54ACEB-A0D1-23A6-5FE7-9D18B6FBFBC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5437" y="1847468"/>
              <a:ext cx="4571975" cy="5469904"/>
            </a:xfrm>
            <a:prstGeom prst="rect">
              <a:avLst/>
            </a:prstGeom>
          </p:spPr>
        </p:pic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297F6DA4-AABC-4E42-AE96-36DDB3FE6374}"/>
                </a:ext>
              </a:extLst>
            </p:cNvPr>
            <p:cNvGrpSpPr/>
            <p:nvPr/>
          </p:nvGrpSpPr>
          <p:grpSpPr>
            <a:xfrm>
              <a:off x="933380" y="2383675"/>
              <a:ext cx="4125467" cy="2949331"/>
              <a:chOff x="-4656251" y="883658"/>
              <a:chExt cx="4125467" cy="2949331"/>
            </a:xfrm>
          </p:grpSpPr>
          <p:sp>
            <p:nvSpPr>
              <p:cNvPr id="26" name="Right Arrow 25"/>
              <p:cNvSpPr/>
              <p:nvPr/>
            </p:nvSpPr>
            <p:spPr>
              <a:xfrm>
                <a:off x="-962832" y="2251975"/>
                <a:ext cx="432048" cy="830429"/>
              </a:xfrm>
              <a:prstGeom prst="rightArrow">
                <a:avLst/>
              </a:prstGeom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4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7" name="Oval 26"/>
              <p:cNvSpPr/>
              <p:nvPr/>
            </p:nvSpPr>
            <p:spPr>
              <a:xfrm>
                <a:off x="-3333772" y="883658"/>
                <a:ext cx="336037" cy="336037"/>
              </a:xfrm>
              <a:prstGeom prst="ellipse">
                <a:avLst/>
              </a:prstGeom>
              <a:solidFill>
                <a:schemeClr val="accent2"/>
              </a:solidFill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2133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1</a:t>
                </a:r>
              </a:p>
            </p:txBody>
          </p:sp>
          <p:sp>
            <p:nvSpPr>
              <p:cNvPr id="28" name="Oval 27"/>
              <p:cNvSpPr/>
              <p:nvPr/>
            </p:nvSpPr>
            <p:spPr>
              <a:xfrm>
                <a:off x="-2012654" y="2333489"/>
                <a:ext cx="336037" cy="336037"/>
              </a:xfrm>
              <a:prstGeom prst="ellipse">
                <a:avLst/>
              </a:prstGeom>
              <a:solidFill>
                <a:schemeClr val="accent2"/>
              </a:solidFill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2133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2</a:t>
                </a:r>
              </a:p>
            </p:txBody>
          </p:sp>
          <p:sp>
            <p:nvSpPr>
              <p:cNvPr id="29" name="Oval 28"/>
              <p:cNvSpPr/>
              <p:nvPr/>
            </p:nvSpPr>
            <p:spPr>
              <a:xfrm>
                <a:off x="-2671004" y="3496952"/>
                <a:ext cx="336037" cy="336037"/>
              </a:xfrm>
              <a:prstGeom prst="ellipse">
                <a:avLst/>
              </a:prstGeom>
              <a:solidFill>
                <a:schemeClr val="accent2"/>
              </a:solidFill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2133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3</a:t>
                </a:r>
              </a:p>
            </p:txBody>
          </p:sp>
          <p:sp>
            <p:nvSpPr>
              <p:cNvPr id="30" name="Oval 29"/>
              <p:cNvSpPr/>
              <p:nvPr/>
            </p:nvSpPr>
            <p:spPr>
              <a:xfrm>
                <a:off x="-4017082" y="3496952"/>
                <a:ext cx="336037" cy="336037"/>
              </a:xfrm>
              <a:prstGeom prst="ellipse">
                <a:avLst/>
              </a:prstGeom>
              <a:solidFill>
                <a:schemeClr val="accent2"/>
              </a:solidFill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2133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4</a:t>
                </a:r>
              </a:p>
            </p:txBody>
          </p:sp>
          <p:sp>
            <p:nvSpPr>
              <p:cNvPr id="31" name="Oval 30"/>
              <p:cNvSpPr/>
              <p:nvPr/>
            </p:nvSpPr>
            <p:spPr>
              <a:xfrm>
                <a:off x="-4656251" y="2333489"/>
                <a:ext cx="336037" cy="336037"/>
              </a:xfrm>
              <a:prstGeom prst="ellipse">
                <a:avLst/>
              </a:prstGeom>
              <a:solidFill>
                <a:schemeClr val="accent2"/>
              </a:solidFill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2133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5</a:t>
                </a:r>
              </a:p>
            </p:txBody>
          </p:sp>
        </p:grpSp>
        <p:sp>
          <p:nvSpPr>
            <p:cNvPr id="32" name="Content Placeholder 4">
              <a:extLst>
                <a:ext uri="{FF2B5EF4-FFF2-40B4-BE49-F238E27FC236}">
                  <a16:creationId xmlns:a16="http://schemas.microsoft.com/office/drawing/2014/main" id="{8D6F5996-7B10-4786-97BF-B478AA3FE42E}"/>
                </a:ext>
              </a:extLst>
            </p:cNvPr>
            <p:cNvSpPr txBox="1">
              <a:spLocks/>
            </p:cNvSpPr>
            <p:nvPr/>
          </p:nvSpPr>
          <p:spPr>
            <a:xfrm>
              <a:off x="678929" y="1167135"/>
              <a:ext cx="4480152" cy="923330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230188" indent="-230188" algn="l" defTabSz="914445" rtl="0" eaLnBrk="1" latinLnBrk="0" hangingPunct="1">
                <a:lnSpc>
                  <a:spcPct val="90000"/>
                </a:lnSpc>
                <a:spcBef>
                  <a:spcPts val="1000"/>
                </a:spcBef>
                <a:buClr>
                  <a:schemeClr val="accent1"/>
                </a:buClr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17525" indent="-287338" algn="l" defTabSz="914445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chemeClr val="accent1"/>
                </a:buClr>
                <a:buFont typeface="Arial" panose="020B0604020202020204" pitchFamily="34" charset="0"/>
                <a:buChar char="‒"/>
                <a:tabLst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38188" indent="-220663" algn="l" defTabSz="914445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chemeClr val="accent1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69963" indent="-231775" algn="l" defTabSz="914445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chemeClr val="accent1"/>
                </a:buClr>
                <a:buFont typeface="Arial" panose="020B0604020202020204" pitchFamily="34" charset="0"/>
                <a:buChar char="‒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00150" indent="-230188" algn="l" defTabSz="914445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chemeClr val="accent1"/>
                </a:buClr>
                <a:buFont typeface="Arial" panose="020B0604020202020204" pitchFamily="34" charset="0"/>
                <a:buChar char="»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725" indent="-228612" algn="l" defTabSz="914445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948" indent="-228612" algn="l" defTabSz="914445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171" indent="-228612" algn="l" defTabSz="914445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394" indent="-228612" algn="l" defTabSz="914445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45" rtl="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>
                  <a:srgbClr val="1A2746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ODA comprises reusable, cloud native software components organized into loosely coupled domains</a:t>
              </a:r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8884482" y="713137"/>
              <a:ext cx="3166590" cy="593652"/>
            </a:xfrm>
            <a:prstGeom prst="rect">
              <a:avLst/>
            </a:prstGeom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square" lIns="96000" rIns="96000" rtlCol="0">
              <a:spAutoFit/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An ODA Component describes itself via its “Envelope” </a:t>
              </a: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29313B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(YAML definition)</a:t>
              </a:r>
            </a:p>
          </p:txBody>
        </p:sp>
        <p:sp>
          <p:nvSpPr>
            <p:cNvPr id="34" name="Oval 33"/>
            <p:cNvSpPr/>
            <p:nvPr/>
          </p:nvSpPr>
          <p:spPr>
            <a:xfrm>
              <a:off x="5095160" y="4246383"/>
              <a:ext cx="288000" cy="288000"/>
            </a:xfrm>
            <a:prstGeom prst="ellipse">
              <a:avLst/>
            </a:prstGeom>
            <a:solidFill>
              <a:schemeClr val="accent2"/>
            </a:solidFill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2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133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1</a:t>
              </a:r>
            </a:p>
          </p:txBody>
        </p:sp>
        <p:sp>
          <p:nvSpPr>
            <p:cNvPr id="35" name="Oval 34"/>
            <p:cNvSpPr/>
            <p:nvPr/>
          </p:nvSpPr>
          <p:spPr>
            <a:xfrm>
              <a:off x="5085328" y="5702675"/>
              <a:ext cx="288000" cy="288000"/>
            </a:xfrm>
            <a:prstGeom prst="ellipse">
              <a:avLst/>
            </a:prstGeom>
            <a:solidFill>
              <a:schemeClr val="accent2"/>
            </a:solidFill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2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133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2</a:t>
              </a:r>
            </a:p>
          </p:txBody>
        </p:sp>
        <p:sp>
          <p:nvSpPr>
            <p:cNvPr id="36" name="Oval 35"/>
            <p:cNvSpPr/>
            <p:nvPr/>
          </p:nvSpPr>
          <p:spPr>
            <a:xfrm>
              <a:off x="5098102" y="6497234"/>
              <a:ext cx="288000" cy="288000"/>
            </a:xfrm>
            <a:prstGeom prst="ellipse">
              <a:avLst/>
            </a:prstGeom>
            <a:solidFill>
              <a:schemeClr val="accent2"/>
            </a:solidFill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2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133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3</a:t>
              </a:r>
            </a:p>
          </p:txBody>
        </p:sp>
        <p:sp>
          <p:nvSpPr>
            <p:cNvPr id="37" name="Oval 36"/>
            <p:cNvSpPr/>
            <p:nvPr/>
          </p:nvSpPr>
          <p:spPr>
            <a:xfrm>
              <a:off x="5089299" y="6179756"/>
              <a:ext cx="288000" cy="288000"/>
            </a:xfrm>
            <a:prstGeom prst="ellipse">
              <a:avLst/>
            </a:prstGeom>
            <a:solidFill>
              <a:schemeClr val="accent2"/>
            </a:solidFill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2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133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5</a:t>
              </a:r>
            </a:p>
          </p:txBody>
        </p:sp>
        <p:sp>
          <p:nvSpPr>
            <p:cNvPr id="38" name="Isosceles Triangle 37"/>
            <p:cNvSpPr/>
            <p:nvPr/>
          </p:nvSpPr>
          <p:spPr>
            <a:xfrm rot="10800000">
              <a:off x="10037869" y="6808121"/>
              <a:ext cx="252000" cy="234000"/>
            </a:xfrm>
            <a:prstGeom prst="triangle">
              <a:avLst/>
            </a:prstGeom>
            <a:solidFill>
              <a:schemeClr val="accent2"/>
            </a:solidFill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2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33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Oval 38"/>
            <p:cNvSpPr/>
            <p:nvPr/>
          </p:nvSpPr>
          <p:spPr>
            <a:xfrm>
              <a:off x="10018474" y="6477410"/>
              <a:ext cx="288000" cy="288000"/>
            </a:xfrm>
            <a:prstGeom prst="ellipse">
              <a:avLst/>
            </a:prstGeom>
            <a:solidFill>
              <a:schemeClr val="accent2"/>
            </a:solidFill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2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133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4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4346130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2"/>
          <p:cNvSpPr>
            <a:spLocks noGrp="1"/>
          </p:cNvSpPr>
          <p:nvPr>
            <p:ph type="title"/>
          </p:nvPr>
        </p:nvSpPr>
        <p:spPr>
          <a:xfrm>
            <a:off x="452852" y="294639"/>
            <a:ext cx="11637548" cy="549275"/>
          </a:xfrm>
        </p:spPr>
        <p:txBody>
          <a:bodyPr>
            <a:normAutofit/>
          </a:bodyPr>
          <a:lstStyle/>
          <a:p>
            <a:r>
              <a:rPr lang="en-US" dirty="0"/>
              <a:t>ODA Canvas on STL Cloud Native Platform</a:t>
            </a:r>
          </a:p>
        </p:txBody>
      </p:sp>
      <p:sp>
        <p:nvSpPr>
          <p:cNvPr id="5" name="Google Shape;2042;p79"/>
          <p:cNvSpPr txBox="1">
            <a:spLocks/>
          </p:cNvSpPr>
          <p:nvPr/>
        </p:nvSpPr>
        <p:spPr>
          <a:xfrm>
            <a:off x="908906" y="692740"/>
            <a:ext cx="9605902" cy="299825"/>
          </a:xfrm>
          <a:prstGeom prst="rect">
            <a:avLst/>
          </a:prstGeom>
          <a:noFill/>
          <a:ln>
            <a:noFill/>
          </a:ln>
          <a:effectLst/>
        </p:spPr>
        <p:txBody>
          <a:bodyPr spcFirstLastPara="1" vert="horz" wrap="square" lIns="91425" tIns="45700" rIns="91425" bIns="45700" rtlCol="0" anchor="ctr" anchorCtr="0">
            <a:normAutofit fontScale="97500"/>
          </a:bodyPr>
          <a:lstStyle>
            <a:lvl1pPr marL="0" marR="0" lv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  <a:tabLst/>
              <a:defRPr sz="3200" b="1" i="0" u="none" strike="noStrike" cap="none" spc="0" baseline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uFillTx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Calibri Light"/>
              </a:defRPr>
            </a:lvl1pPr>
            <a:lvl2pPr marL="0" marR="0" lvl="1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Calibri"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2pPr>
            <a:lvl3pPr marL="0" marR="0" lvl="2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Calibri"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3pPr>
            <a:lvl4pPr marL="0" marR="0" lvl="3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Calibri"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4pPr>
            <a:lvl5pPr marL="0" marR="0" lvl="4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Calibri"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5pPr>
            <a:lvl6pPr marL="0" marR="0" lvl="5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Calibri"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6pPr>
            <a:lvl7pPr marL="0" marR="0" lvl="6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Calibri"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7pPr>
            <a:lvl8pPr marL="0" marR="0" lvl="7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Calibri"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8pPr>
            <a:lvl9pPr marL="0" marR="0" lvl="8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Calibri"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Pct val="126984"/>
              <a:buFont typeface="Calibri"/>
              <a:buNone/>
              <a:tabLst/>
              <a:defRPr/>
            </a:pPr>
            <a:r>
              <a:rPr kumimoji="0" lang="en-US" sz="1200" b="0" i="1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cs typeface="Calibri"/>
                <a:sym typeface="Calibri Light"/>
              </a:rPr>
              <a:t>Run all your application workloads on STL CNP with ODA Canvas Kubernetes Operators</a:t>
            </a:r>
            <a:endParaRPr kumimoji="0" lang="en-US" sz="1200" b="0" i="1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/>
              <a:cs typeface="Calibri"/>
              <a:sym typeface="Calibri Light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363793" y="1062153"/>
            <a:ext cx="11409163" cy="5381181"/>
            <a:chOff x="165307" y="1054091"/>
            <a:chExt cx="11715805" cy="5681006"/>
          </a:xfrm>
        </p:grpSpPr>
        <p:sp>
          <p:nvSpPr>
            <p:cNvPr id="6" name="Google Shape;2055;p79"/>
            <p:cNvSpPr/>
            <p:nvPr/>
          </p:nvSpPr>
          <p:spPr>
            <a:xfrm>
              <a:off x="839758" y="3551821"/>
              <a:ext cx="10392508" cy="295131"/>
            </a:xfrm>
            <a:prstGeom prst="roundRect">
              <a:avLst>
                <a:gd name="adj" fmla="val 16667"/>
              </a:avLst>
            </a:prstGeom>
            <a:noFill/>
            <a:ln w="12700" cap="flat" cmpd="sng">
              <a:noFill/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45700" tIns="45700" rIns="45700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800"/>
                <a:buFontTx/>
                <a:buNone/>
                <a:tabLst/>
                <a:defRPr/>
              </a:pPr>
              <a:endParaRPr kumimoji="0" lang="en-IN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Calibri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100"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Calibri"/>
                </a:rPr>
                <a:t>Monitoring, Alerting, Logging, Tracing, Service Mesh, Messaging, Caching, IAM, Message Queues, Security, API GW, Load Balancer, Container Packaging, Container </a:t>
              </a:r>
              <a:r>
                <a:rPr kumimoji="0" lang="en-US" sz="9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Calibri"/>
                </a:rPr>
                <a:t>Registry Services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Calibri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800"/>
                <a:buFontTx/>
                <a:buNone/>
                <a:tabLst/>
                <a:defRPr/>
              </a:pPr>
              <a:endParaRPr kumimoji="0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Calibri"/>
              </a:endParaRPr>
            </a:p>
          </p:txBody>
        </p:sp>
        <p:sp>
          <p:nvSpPr>
            <p:cNvPr id="7" name="Rectangle 6"/>
            <p:cNvSpPr/>
            <p:nvPr/>
          </p:nvSpPr>
          <p:spPr>
            <a:xfrm>
              <a:off x="4093317" y="3794487"/>
              <a:ext cx="3154154" cy="314131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>
                  <a:lumMod val="40000"/>
                  <a:lumOff val="60000"/>
                </a:schemeClr>
              </a:solidFill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  <a:sym typeface="Calibri"/>
              </a:endParaRPr>
            </a:p>
          </p:txBody>
        </p:sp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4717238" y="3824405"/>
              <a:ext cx="528184" cy="150910"/>
            </a:xfrm>
            <a:prstGeom prst="rect">
              <a:avLst/>
            </a:prstGeom>
          </p:spPr>
        </p:pic>
        <p:sp>
          <p:nvSpPr>
            <p:cNvPr id="9" name="Google Shape;2045;p79"/>
            <p:cNvSpPr/>
            <p:nvPr/>
          </p:nvSpPr>
          <p:spPr>
            <a:xfrm>
              <a:off x="6346623" y="5314589"/>
              <a:ext cx="2404087" cy="1420507"/>
            </a:xfrm>
            <a:prstGeom prst="roundRect">
              <a:avLst>
                <a:gd name="adj" fmla="val 16667"/>
              </a:avLst>
            </a:prstGeom>
            <a:solidFill>
              <a:srgbClr val="FFFFFF"/>
            </a:solidFill>
            <a:ln w="127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45700" tIns="45700" rIns="45700" bIns="457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" name="Google Shape;2044;p79"/>
            <p:cNvSpPr/>
            <p:nvPr/>
          </p:nvSpPr>
          <p:spPr>
            <a:xfrm>
              <a:off x="177423" y="6076033"/>
              <a:ext cx="5977572" cy="659064"/>
            </a:xfrm>
            <a:prstGeom prst="roundRect">
              <a:avLst>
                <a:gd name="adj" fmla="val 16667"/>
              </a:avLst>
            </a:prstGeom>
            <a:solidFill>
              <a:srgbClr val="FFFFFF"/>
            </a:solidFill>
            <a:ln w="127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45700" tIns="45700" rIns="45700" bIns="457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" name="Google Shape;2045;p79"/>
            <p:cNvSpPr/>
            <p:nvPr/>
          </p:nvSpPr>
          <p:spPr>
            <a:xfrm>
              <a:off x="177422" y="5174384"/>
              <a:ext cx="5977573" cy="620378"/>
            </a:xfrm>
            <a:prstGeom prst="roundRect">
              <a:avLst>
                <a:gd name="adj" fmla="val 16667"/>
              </a:avLst>
            </a:prstGeom>
            <a:solidFill>
              <a:srgbClr val="FFFFFF"/>
            </a:solidFill>
            <a:ln w="127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45700" tIns="45700" rIns="45700" bIns="457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" name="Google Shape;2048;p79"/>
            <p:cNvSpPr/>
            <p:nvPr/>
          </p:nvSpPr>
          <p:spPr>
            <a:xfrm>
              <a:off x="312281" y="5845420"/>
              <a:ext cx="970671" cy="242190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txBody>
            <a:bodyPr spcFirstLastPara="1" wrap="square" lIns="45700" tIns="45700" rIns="45700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800"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cs typeface="Calibri"/>
                </a:rPr>
                <a:t>IaaS</a:t>
              </a:r>
              <a:endParaRPr kumimoji="0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cs typeface="Calibri"/>
              </a:endParaRPr>
            </a:p>
          </p:txBody>
        </p:sp>
        <p:sp>
          <p:nvSpPr>
            <p:cNvPr id="13" name="Google Shape;2049;p79"/>
            <p:cNvSpPr/>
            <p:nvPr/>
          </p:nvSpPr>
          <p:spPr>
            <a:xfrm>
              <a:off x="354143" y="5102817"/>
              <a:ext cx="970671" cy="211773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txBody>
            <a:bodyPr spcFirstLastPara="1" wrap="square" lIns="45700" tIns="45700" rIns="45700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800"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cs typeface="Calibri"/>
                </a:rPr>
                <a:t>IaaS+</a:t>
              </a:r>
              <a:endParaRPr kumimoji="0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cs typeface="Calibri"/>
              </a:endParaRPr>
            </a:p>
          </p:txBody>
        </p:sp>
        <p:sp>
          <p:nvSpPr>
            <p:cNvPr id="14" name="Google Shape;2050;p79"/>
            <p:cNvSpPr/>
            <p:nvPr/>
          </p:nvSpPr>
          <p:spPr>
            <a:xfrm>
              <a:off x="177421" y="2687466"/>
              <a:ext cx="11694898" cy="1474681"/>
            </a:xfrm>
            <a:prstGeom prst="roundRect">
              <a:avLst>
                <a:gd name="adj" fmla="val 16667"/>
              </a:avLst>
            </a:prstGeom>
            <a:noFill/>
            <a:ln w="38100" cap="flat" cmpd="sng">
              <a:solidFill>
                <a:srgbClr val="0070C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45700" tIns="45700" rIns="45700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600"/>
                <a:buFontTx/>
                <a:buNone/>
                <a:tabLst/>
                <a:defRPr/>
              </a:pPr>
              <a:endParaRPr kumimoji="0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Calibri"/>
              </a:endParaRPr>
            </a:p>
          </p:txBody>
        </p:sp>
        <p:sp>
          <p:nvSpPr>
            <p:cNvPr id="15" name="Google Shape;2052;p79"/>
            <p:cNvSpPr/>
            <p:nvPr/>
          </p:nvSpPr>
          <p:spPr>
            <a:xfrm>
              <a:off x="239572" y="1166055"/>
              <a:ext cx="11641540" cy="1459327"/>
            </a:xfrm>
            <a:prstGeom prst="roundRect">
              <a:avLst>
                <a:gd name="adj" fmla="val 16667"/>
              </a:avLst>
            </a:prstGeom>
            <a:solidFill>
              <a:srgbClr val="FFFFFF"/>
            </a:solidFill>
            <a:ln w="127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45700" tIns="45700" rIns="45700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Calibri"/>
              </a:endParaRPr>
            </a:p>
          </p:txBody>
        </p:sp>
        <p:sp>
          <p:nvSpPr>
            <p:cNvPr id="16" name="Google Shape;2053;p79"/>
            <p:cNvSpPr/>
            <p:nvPr/>
          </p:nvSpPr>
          <p:spPr>
            <a:xfrm>
              <a:off x="354143" y="1054091"/>
              <a:ext cx="3071310" cy="351691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txBody>
            <a:bodyPr spcFirstLastPara="1" wrap="square" lIns="45700" tIns="45700" rIns="45700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800"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cs typeface="Calibri"/>
                </a:rPr>
                <a:t>Application Workloads</a:t>
              </a:r>
              <a:endParaRPr kumimoji="0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cs typeface="Calibri"/>
              </a:endParaRPr>
            </a:p>
          </p:txBody>
        </p:sp>
        <p:sp>
          <p:nvSpPr>
            <p:cNvPr id="17" name="Google Shape;2054;p79"/>
            <p:cNvSpPr/>
            <p:nvPr/>
          </p:nvSpPr>
          <p:spPr>
            <a:xfrm>
              <a:off x="395282" y="1471552"/>
              <a:ext cx="1775341" cy="936314"/>
            </a:xfrm>
            <a:prstGeom prst="roundRect">
              <a:avLst>
                <a:gd name="adj" fmla="val 16667"/>
              </a:avLst>
            </a:prstGeom>
            <a:solidFill>
              <a:srgbClr val="FFFFFF"/>
            </a:solidFill>
            <a:ln w="127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45700" tIns="45700" rIns="45700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Calibri"/>
                </a:rPr>
                <a:t>Enterprise Applications</a:t>
              </a: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Calibri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100"/>
                <a:buFont typeface="Arial"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(Cloud Native Applications)</a:t>
              </a:r>
              <a:endParaRPr kumimoji="0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" name="Google Shape;2055;p79"/>
            <p:cNvSpPr/>
            <p:nvPr/>
          </p:nvSpPr>
          <p:spPr>
            <a:xfrm>
              <a:off x="2265527" y="1471551"/>
              <a:ext cx="2019869" cy="936315"/>
            </a:xfrm>
            <a:prstGeom prst="roundRect">
              <a:avLst>
                <a:gd name="adj" fmla="val 16667"/>
              </a:avLst>
            </a:prstGeom>
            <a:noFill/>
            <a:ln w="38100" cap="flat" cmpd="sng">
              <a:solidFill>
                <a:srgbClr val="0070C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45700" tIns="45700" rIns="45700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600"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Calibri"/>
              </a:endParaRPr>
            </a:p>
          </p:txBody>
        </p:sp>
        <p:sp>
          <p:nvSpPr>
            <p:cNvPr id="19" name="Google Shape;2056;p79"/>
            <p:cNvSpPr/>
            <p:nvPr/>
          </p:nvSpPr>
          <p:spPr>
            <a:xfrm>
              <a:off x="4359090" y="1468670"/>
              <a:ext cx="1823345" cy="914986"/>
            </a:xfrm>
            <a:prstGeom prst="roundRect">
              <a:avLst>
                <a:gd name="adj" fmla="val 16667"/>
              </a:avLst>
            </a:prstGeom>
            <a:noFill/>
            <a:ln w="38100" cap="flat" cmpd="sng">
              <a:solidFill>
                <a:srgbClr val="0070C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45700" tIns="45700" rIns="45700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600"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Calibri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600"/>
                <a:buFontTx/>
                <a:buNone/>
                <a:tabLst/>
                <a:defRPr/>
              </a:pPr>
              <a:endParaRPr kumimoji="0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Calibri"/>
              </a:endParaRPr>
            </a:p>
          </p:txBody>
        </p:sp>
        <p:sp>
          <p:nvSpPr>
            <p:cNvPr id="20" name="Google Shape;2057;p79"/>
            <p:cNvSpPr/>
            <p:nvPr/>
          </p:nvSpPr>
          <p:spPr>
            <a:xfrm>
              <a:off x="8052179" y="1448084"/>
              <a:ext cx="1924334" cy="959782"/>
            </a:xfrm>
            <a:prstGeom prst="roundRect">
              <a:avLst>
                <a:gd name="adj" fmla="val 16667"/>
              </a:avLst>
            </a:prstGeom>
            <a:noFill/>
            <a:ln w="38100" cap="flat" cmpd="sng">
              <a:solidFill>
                <a:srgbClr val="0070C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45700" tIns="45700" rIns="45700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600"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Calibri"/>
              </a:endParaRPr>
            </a:p>
          </p:txBody>
        </p:sp>
        <p:sp>
          <p:nvSpPr>
            <p:cNvPr id="21" name="Google Shape;2058;p79"/>
            <p:cNvSpPr/>
            <p:nvPr/>
          </p:nvSpPr>
          <p:spPr>
            <a:xfrm>
              <a:off x="6285242" y="1471550"/>
              <a:ext cx="1658250" cy="936316"/>
            </a:xfrm>
            <a:prstGeom prst="roundRect">
              <a:avLst>
                <a:gd name="adj" fmla="val 16667"/>
              </a:avLst>
            </a:prstGeom>
            <a:solidFill>
              <a:srgbClr val="FFFFFF"/>
            </a:solidFill>
            <a:ln w="127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45700" tIns="45700" rIns="45700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Calibri"/>
                </a:rPr>
                <a:t>SDN-NFV Applications</a:t>
              </a: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Calibri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100"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Calibri"/>
                </a:rPr>
                <a:t>(CNFs)</a:t>
              </a:r>
              <a:endParaRPr kumimoji="0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Calibri"/>
              </a:endParaRPr>
            </a:p>
          </p:txBody>
        </p:sp>
        <p:pic>
          <p:nvPicPr>
            <p:cNvPr id="22" name="Google Shape;2065;p79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2119168" y="5314589"/>
              <a:ext cx="691089" cy="451501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3" name="Google Shape;2066;p79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395282" y="5317314"/>
              <a:ext cx="1395427" cy="403157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4" name="Google Shape;2067;p79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591389" y="6180385"/>
              <a:ext cx="733425" cy="5334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5" name="Google Shape;2068;p79"/>
            <p:cNvPicPr preferRelativeResize="0"/>
            <p:nvPr/>
          </p:nvPicPr>
          <p:blipFill rotWithShape="1">
            <a:blip r:embed="rId6">
              <a:alphaModFix/>
            </a:blip>
            <a:srcRect/>
            <a:stretch/>
          </p:blipFill>
          <p:spPr>
            <a:xfrm>
              <a:off x="1674196" y="6160720"/>
              <a:ext cx="695325" cy="5334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6" name="Google Shape;2069;p79"/>
            <p:cNvPicPr preferRelativeResize="0"/>
            <p:nvPr/>
          </p:nvPicPr>
          <p:blipFill rotWithShape="1">
            <a:blip r:embed="rId7">
              <a:alphaModFix/>
            </a:blip>
            <a:srcRect/>
            <a:stretch/>
          </p:blipFill>
          <p:spPr>
            <a:xfrm>
              <a:off x="2688856" y="6188577"/>
              <a:ext cx="1073485" cy="498935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27" name="Google Shape;2058;p79"/>
            <p:cNvSpPr/>
            <p:nvPr/>
          </p:nvSpPr>
          <p:spPr>
            <a:xfrm>
              <a:off x="4121380" y="6125100"/>
              <a:ext cx="1895961" cy="572183"/>
            </a:xfrm>
            <a:prstGeom prst="roundRect">
              <a:avLst>
                <a:gd name="adj" fmla="val 16667"/>
              </a:avLst>
            </a:prstGeom>
            <a:solidFill>
              <a:srgbClr val="FFFFFF"/>
            </a:solidFill>
            <a:ln w="127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45700" tIns="45700" rIns="45700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800"/>
                <a:buFontTx/>
                <a:buNone/>
                <a:tabLst/>
                <a:defRPr/>
              </a:pPr>
              <a:r>
                <a: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Calibri"/>
                </a:rPr>
                <a:t>COTS Server</a:t>
              </a: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Calibri"/>
              </a:endParaRPr>
            </a:p>
          </p:txBody>
        </p:sp>
        <p:sp>
          <p:nvSpPr>
            <p:cNvPr id="28" name="Google Shape;2045;p79"/>
            <p:cNvSpPr/>
            <p:nvPr/>
          </p:nvSpPr>
          <p:spPr>
            <a:xfrm>
              <a:off x="8951562" y="5314589"/>
              <a:ext cx="2920758" cy="1420508"/>
            </a:xfrm>
            <a:prstGeom prst="roundRect">
              <a:avLst>
                <a:gd name="adj" fmla="val 16667"/>
              </a:avLst>
            </a:prstGeom>
            <a:solidFill>
              <a:srgbClr val="FFFFFF"/>
            </a:solidFill>
            <a:ln w="127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45700" tIns="45700" rIns="45700" bIns="457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9" name="Google Shape;2049;p79"/>
            <p:cNvSpPr/>
            <p:nvPr/>
          </p:nvSpPr>
          <p:spPr>
            <a:xfrm>
              <a:off x="9320819" y="5186973"/>
              <a:ext cx="1906558" cy="301516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txBody>
            <a:bodyPr spcFirstLastPara="1" wrap="square" lIns="45700" tIns="45700" rIns="45700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800"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cs typeface="Calibri"/>
                </a:rPr>
                <a:t>Public Cloud</a:t>
              </a:r>
              <a:endParaRPr kumimoji="0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cs typeface="Calibri"/>
              </a:endParaRPr>
            </a:p>
          </p:txBody>
        </p:sp>
        <p:pic>
          <p:nvPicPr>
            <p:cNvPr id="30" name="Picture 29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9370378" y="5591755"/>
              <a:ext cx="844970" cy="545749"/>
            </a:xfrm>
            <a:prstGeom prst="rect">
              <a:avLst/>
            </a:prstGeom>
          </p:spPr>
        </p:pic>
        <p:pic>
          <p:nvPicPr>
            <p:cNvPr id="31" name="Picture 30"/>
            <p:cNvPicPr>
              <a:picLocks noChangeAspect="1"/>
            </p:cNvPicPr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10503646" y="5572749"/>
              <a:ext cx="913114" cy="472244"/>
            </a:xfrm>
            <a:prstGeom prst="rect">
              <a:avLst/>
            </a:prstGeom>
          </p:spPr>
        </p:pic>
        <p:pic>
          <p:nvPicPr>
            <p:cNvPr id="32" name="Picture 31"/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9413945" y="6174902"/>
              <a:ext cx="779660" cy="480601"/>
            </a:xfrm>
            <a:prstGeom prst="rect">
              <a:avLst/>
            </a:prstGeom>
          </p:spPr>
        </p:pic>
        <p:pic>
          <p:nvPicPr>
            <p:cNvPr id="33" name="Picture 32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552644" y="6066055"/>
              <a:ext cx="994633" cy="609949"/>
            </a:xfrm>
            <a:prstGeom prst="rect">
              <a:avLst/>
            </a:prstGeom>
          </p:spPr>
        </p:pic>
        <p:sp>
          <p:nvSpPr>
            <p:cNvPr id="34" name="Google Shape;2049;p79"/>
            <p:cNvSpPr/>
            <p:nvPr/>
          </p:nvSpPr>
          <p:spPr>
            <a:xfrm>
              <a:off x="6554514" y="5173157"/>
              <a:ext cx="1906558" cy="314300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txBody>
            <a:bodyPr spcFirstLastPara="1" wrap="square" lIns="45700" tIns="45700" rIns="45700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800"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cs typeface="Calibri"/>
                </a:rPr>
                <a:t>Private Cloud</a:t>
              </a:r>
              <a:endParaRPr kumimoji="0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cs typeface="Calibri"/>
              </a:endParaRPr>
            </a:p>
          </p:txBody>
        </p:sp>
        <p:sp>
          <p:nvSpPr>
            <p:cNvPr id="35" name="Google Shape;2058;p79"/>
            <p:cNvSpPr/>
            <p:nvPr/>
          </p:nvSpPr>
          <p:spPr>
            <a:xfrm>
              <a:off x="3660071" y="5373139"/>
              <a:ext cx="2086789" cy="348895"/>
            </a:xfrm>
            <a:prstGeom prst="roundRect">
              <a:avLst>
                <a:gd name="adj" fmla="val 16667"/>
              </a:avLst>
            </a:prstGeom>
            <a:solidFill>
              <a:srgbClr val="FFFFFF"/>
            </a:solidFill>
            <a:ln w="127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45700" tIns="45700" rIns="45700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r>
                <a: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Calibri"/>
                </a:rPr>
                <a:t>Any Virtualization</a:t>
              </a: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Calibri"/>
              </a:endParaRPr>
            </a:p>
          </p:txBody>
        </p:sp>
        <p:sp>
          <p:nvSpPr>
            <p:cNvPr id="36" name="Google Shape;2058;p79"/>
            <p:cNvSpPr/>
            <p:nvPr/>
          </p:nvSpPr>
          <p:spPr>
            <a:xfrm>
              <a:off x="6554514" y="5647077"/>
              <a:ext cx="1967803" cy="791687"/>
            </a:xfrm>
            <a:prstGeom prst="roundRect">
              <a:avLst>
                <a:gd name="adj" fmla="val 16667"/>
              </a:avLst>
            </a:prstGeom>
            <a:solidFill>
              <a:srgbClr val="FFFFFF"/>
            </a:solidFill>
            <a:ln w="127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45700" tIns="45700" rIns="45700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800"/>
                <a:buFontTx/>
                <a:buNone/>
                <a:tabLst/>
                <a:defRPr/>
              </a:pPr>
              <a:r>
                <a: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Calibri"/>
                </a:rPr>
                <a:t>Virtual Private Cloud</a:t>
              </a:r>
            </a:p>
          </p:txBody>
        </p:sp>
        <p:sp>
          <p:nvSpPr>
            <p:cNvPr id="37" name="Google Shape;2057;p79"/>
            <p:cNvSpPr/>
            <p:nvPr/>
          </p:nvSpPr>
          <p:spPr>
            <a:xfrm>
              <a:off x="10069541" y="1448084"/>
              <a:ext cx="1658250" cy="959782"/>
            </a:xfrm>
            <a:prstGeom prst="roundRect">
              <a:avLst>
                <a:gd name="adj" fmla="val 16667"/>
              </a:avLst>
            </a:prstGeom>
            <a:noFill/>
            <a:ln w="38100" cap="flat" cmpd="sng">
              <a:solidFill>
                <a:srgbClr val="0070C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45700" tIns="45700" rIns="45700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600"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4064BE"/>
                  </a:solidFill>
                  <a:effectLst/>
                  <a:uLnTx/>
                  <a:uFillTx/>
                  <a:latin typeface="Calibri"/>
                  <a:cs typeface="Calibri"/>
                </a:rPr>
                <a:t>API Manager</a:t>
              </a: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srgbClr val="4064BE"/>
                </a:solidFill>
                <a:effectLst/>
                <a:uLnTx/>
                <a:uFillTx/>
                <a:latin typeface="Calibri"/>
                <a:cs typeface="Calibri"/>
              </a:endParaRPr>
            </a:p>
          </p:txBody>
        </p:sp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61AE9EBE-C28F-4225-8C46-F69A624984D5}"/>
                </a:ext>
              </a:extLst>
            </p:cNvPr>
            <p:cNvGrpSpPr/>
            <p:nvPr/>
          </p:nvGrpSpPr>
          <p:grpSpPr>
            <a:xfrm>
              <a:off x="1810718" y="2742435"/>
              <a:ext cx="9629447" cy="876195"/>
              <a:chOff x="1810718" y="3213059"/>
              <a:chExt cx="9629447" cy="876195"/>
            </a:xfrm>
          </p:grpSpPr>
          <p:pic>
            <p:nvPicPr>
              <p:cNvPr id="39" name="Picture 38"/>
              <p:cNvPicPr>
                <a:picLocks noChangeAspect="1"/>
              </p:cNvPicPr>
              <p:nvPr/>
            </p:nvPicPr>
            <p:blipFill>
              <a:blip r:embed="rId1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977677" y="3575849"/>
                <a:ext cx="910867" cy="353820"/>
              </a:xfrm>
              <a:prstGeom prst="rect">
                <a:avLst/>
              </a:prstGeom>
            </p:spPr>
          </p:pic>
          <p:pic>
            <p:nvPicPr>
              <p:cNvPr id="40" name="Picture 39"/>
              <p:cNvPicPr>
                <a:picLocks noChangeAspect="1"/>
              </p:cNvPicPr>
              <p:nvPr/>
            </p:nvPicPr>
            <p:blipFill>
              <a:blip r:embed="rId1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11396" y="3445116"/>
                <a:ext cx="682709" cy="644138"/>
              </a:xfrm>
              <a:prstGeom prst="rect">
                <a:avLst/>
              </a:prstGeom>
            </p:spPr>
          </p:pic>
          <p:pic>
            <p:nvPicPr>
              <p:cNvPr id="41" name="Picture 40"/>
              <p:cNvPicPr>
                <a:picLocks noChangeAspect="1"/>
              </p:cNvPicPr>
              <p:nvPr/>
            </p:nvPicPr>
            <p:blipFill>
              <a:blip r:embed="rId1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810718" y="3425558"/>
                <a:ext cx="1257824" cy="659588"/>
              </a:xfrm>
              <a:prstGeom prst="rect">
                <a:avLst/>
              </a:prstGeom>
            </p:spPr>
          </p:pic>
          <p:pic>
            <p:nvPicPr>
              <p:cNvPr id="42" name="Picture 41"/>
              <p:cNvPicPr>
                <a:picLocks noChangeAspect="1"/>
              </p:cNvPicPr>
              <p:nvPr/>
            </p:nvPicPr>
            <p:blipFill>
              <a:blip r:embed="rId1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358160" y="3514777"/>
                <a:ext cx="1141786" cy="329215"/>
              </a:xfrm>
              <a:prstGeom prst="rect">
                <a:avLst/>
              </a:prstGeom>
            </p:spPr>
          </p:pic>
          <p:pic>
            <p:nvPicPr>
              <p:cNvPr id="43" name="Picture 42"/>
              <p:cNvPicPr>
                <a:picLocks noChangeAspect="1"/>
              </p:cNvPicPr>
              <p:nvPr/>
            </p:nvPicPr>
            <p:blipFill>
              <a:blip r:embed="rId1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0338110" y="3596360"/>
                <a:ext cx="283008" cy="326763"/>
              </a:xfrm>
              <a:prstGeom prst="rect">
                <a:avLst/>
              </a:prstGeom>
            </p:spPr>
          </p:pic>
          <p:sp>
            <p:nvSpPr>
              <p:cNvPr id="44" name="TextBox 43"/>
              <p:cNvSpPr txBox="1"/>
              <p:nvPr/>
            </p:nvSpPr>
            <p:spPr>
              <a:xfrm>
                <a:off x="9733092" y="3564534"/>
                <a:ext cx="501163" cy="369332"/>
              </a:xfrm>
              <a:prstGeom prst="rect">
                <a:avLst/>
              </a:prstGeom>
              <a:solidFill>
                <a:srgbClr val="FFFFFF"/>
              </a:solidFill>
              <a:ln w="12700" cap="flat" cmpd="sng">
                <a:solidFill>
                  <a:schemeClr val="accent1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45700" tIns="45700" rIns="45700" bIns="45700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algn="ctr">
                  <a:buSzPts val="1800"/>
                  <a:defRPr sz="1800">
                    <a:solidFill>
                      <a:srgbClr val="000000"/>
                    </a:solidFill>
                    <a:latin typeface="Arial"/>
                    <a:ea typeface="Arial"/>
                    <a:cs typeface="Arial"/>
                  </a:defRPr>
                </a:lvl1pPr>
                <a:lvl2pPr>
                  <a:defRPr>
                    <a:solidFill>
                      <a:srgbClr val="000000"/>
                    </a:solidFill>
                    <a:latin typeface="Arial"/>
                    <a:ea typeface="Arial"/>
                    <a:cs typeface="Arial"/>
                  </a:defRPr>
                </a:lvl2pPr>
                <a:lvl3pPr>
                  <a:defRPr>
                    <a:solidFill>
                      <a:srgbClr val="000000"/>
                    </a:solidFill>
                    <a:latin typeface="Arial"/>
                    <a:ea typeface="Arial"/>
                    <a:cs typeface="Arial"/>
                  </a:defRPr>
                </a:lvl3pPr>
                <a:lvl4pPr>
                  <a:defRPr>
                    <a:solidFill>
                      <a:srgbClr val="000000"/>
                    </a:solidFill>
                    <a:latin typeface="Arial"/>
                    <a:ea typeface="Arial"/>
                    <a:cs typeface="Arial"/>
                  </a:defRPr>
                </a:lvl4pPr>
                <a:lvl5pPr>
                  <a:defRPr>
                    <a:solidFill>
                      <a:srgbClr val="000000"/>
                    </a:solidFill>
                    <a:latin typeface="Arial"/>
                    <a:ea typeface="Arial"/>
                    <a:cs typeface="Arial"/>
                  </a:defRPr>
                </a:lvl5pPr>
                <a:lvl6pPr>
                  <a:defRPr>
                    <a:solidFill>
                      <a:srgbClr val="000000"/>
                    </a:solidFill>
                    <a:latin typeface="Arial"/>
                    <a:ea typeface="Arial"/>
                    <a:cs typeface="Arial"/>
                  </a:defRPr>
                </a:lvl6pPr>
                <a:lvl7pPr>
                  <a:defRPr>
                    <a:solidFill>
                      <a:srgbClr val="000000"/>
                    </a:solidFill>
                    <a:latin typeface="Arial"/>
                    <a:ea typeface="Arial"/>
                    <a:cs typeface="Arial"/>
                  </a:defRPr>
                </a:lvl7pPr>
                <a:lvl8pPr>
                  <a:defRPr>
                    <a:solidFill>
                      <a:srgbClr val="000000"/>
                    </a:solidFill>
                    <a:latin typeface="Arial"/>
                    <a:ea typeface="Arial"/>
                    <a:cs typeface="Arial"/>
                  </a:defRPr>
                </a:lvl8pPr>
                <a:lvl9pPr>
                  <a:defRPr>
                    <a:solidFill>
                      <a:srgbClr val="000000"/>
                    </a:solidFill>
                    <a:latin typeface="Arial"/>
                    <a:ea typeface="Arial"/>
                    <a:cs typeface="Arial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Pts val="1800"/>
                  <a:buFontTx/>
                  <a:buNone/>
                  <a:tabLst/>
                  <a:defRPr/>
                </a:pP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CI/CD</a:t>
                </a:r>
                <a:endPara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</a:endParaRPr>
              </a:p>
            </p:txBody>
          </p:sp>
          <p:pic>
            <p:nvPicPr>
              <p:cNvPr id="45" name="Picture 44"/>
              <p:cNvPicPr>
                <a:picLocks noChangeAspect="1"/>
              </p:cNvPicPr>
              <p:nvPr/>
            </p:nvPicPr>
            <p:blipFill rotWithShape="1">
              <a:blip r:embed="rId1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69630" t="53535" r="19999" b="37886"/>
              <a:stretch/>
            </p:blipFill>
            <p:spPr>
              <a:xfrm>
                <a:off x="4950092" y="3523011"/>
                <a:ext cx="811170" cy="492494"/>
              </a:xfrm>
              <a:prstGeom prst="rect">
                <a:avLst/>
              </a:prstGeom>
            </p:spPr>
          </p:pic>
          <p:pic>
            <p:nvPicPr>
              <p:cNvPr id="46" name="Picture 2" descr="Apache ActiveMQ - Wikipedia"/>
              <p:cNvPicPr>
                <a:picLocks noChangeAspect="1" noChangeArrowheads="1"/>
              </p:cNvPicPr>
              <p:nvPr/>
            </p:nvPicPr>
            <p:blipFill>
              <a:blip r:embed="rId1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679851" y="3385562"/>
                <a:ext cx="1061997" cy="54635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7" name="Picture 46"/>
              <p:cNvPicPr>
                <a:picLocks noChangeAspect="1"/>
              </p:cNvPicPr>
              <p:nvPr/>
            </p:nvPicPr>
            <p:blipFill rotWithShape="1">
              <a:blip r:embed="rId19"/>
              <a:srcRect t="26616" b="25384"/>
              <a:stretch/>
            </p:blipFill>
            <p:spPr>
              <a:xfrm>
                <a:off x="5991613" y="3756069"/>
                <a:ext cx="602639" cy="289267"/>
              </a:xfrm>
              <a:prstGeom prst="rect">
                <a:avLst/>
              </a:prstGeom>
            </p:spPr>
          </p:pic>
          <p:pic>
            <p:nvPicPr>
              <p:cNvPr id="48" name="Picture 6" descr="In-memory Computing Platform Hazelcast Raises $28.5m | Financial IT"/>
              <p:cNvPicPr>
                <a:picLocks noChangeAspect="1" noChangeArrowheads="1"/>
              </p:cNvPicPr>
              <p:nvPr/>
            </p:nvPicPr>
            <p:blipFill>
              <a:blip r:embed="rId2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741848" y="3213059"/>
                <a:ext cx="659423" cy="65942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9" name="Picture 8" descr="HashiCorp on Twitter: &amp;quot;Ambassador API gateway and Consul provide a complete  solution for traffic management in your hybrid cloud, across #k8s and  legacy infrastructure. Learn more about the latest integration in this"/>
              <p:cNvPicPr>
                <a:picLocks noChangeAspect="1" noChangeArrowheads="1"/>
              </p:cNvPicPr>
              <p:nvPr/>
            </p:nvPicPr>
            <p:blipFill rotWithShape="1">
              <a:blip r:embed="rId2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58177" t="27846" r="24131" b="27693"/>
              <a:stretch/>
            </p:blipFill>
            <p:spPr bwMode="auto">
              <a:xfrm>
                <a:off x="8534327" y="3465924"/>
                <a:ext cx="433835" cy="54512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50" name="Picture 49"/>
              <p:cNvPicPr>
                <a:picLocks noChangeAspect="1"/>
              </p:cNvPicPr>
              <p:nvPr/>
            </p:nvPicPr>
            <p:blipFill rotWithShape="1">
              <a:blip r:embed="rId1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60531" t="60843" r="32229" b="28353"/>
              <a:stretch/>
            </p:blipFill>
            <p:spPr>
              <a:xfrm>
                <a:off x="8976953" y="3439547"/>
                <a:ext cx="650631" cy="597877"/>
              </a:xfrm>
              <a:prstGeom prst="rect">
                <a:avLst/>
              </a:prstGeom>
            </p:spPr>
          </p:pic>
          <p:pic>
            <p:nvPicPr>
              <p:cNvPr id="51" name="Picture 50"/>
              <p:cNvPicPr>
                <a:picLocks noChangeAspect="1"/>
              </p:cNvPicPr>
              <p:nvPr/>
            </p:nvPicPr>
            <p:blipFill>
              <a:blip r:embed="rId22"/>
              <a:stretch>
                <a:fillRect/>
              </a:stretch>
            </p:blipFill>
            <p:spPr>
              <a:xfrm>
                <a:off x="10712637" y="3663537"/>
                <a:ext cx="727528" cy="206832"/>
              </a:xfrm>
              <a:prstGeom prst="rect">
                <a:avLst/>
              </a:prstGeom>
            </p:spPr>
          </p:pic>
        </p:grpSp>
        <p:sp>
          <p:nvSpPr>
            <p:cNvPr id="52" name="Google Shape;2050;p79"/>
            <p:cNvSpPr/>
            <p:nvPr/>
          </p:nvSpPr>
          <p:spPr>
            <a:xfrm>
              <a:off x="165307" y="4245984"/>
              <a:ext cx="11694898" cy="862073"/>
            </a:xfrm>
            <a:prstGeom prst="roundRect">
              <a:avLst>
                <a:gd name="adj" fmla="val 16667"/>
              </a:avLst>
            </a:prstGeom>
            <a:noFill/>
            <a:ln w="38100" cap="flat" cmpd="sng">
              <a:solidFill>
                <a:srgbClr val="0070C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45700" tIns="45700" rIns="45700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600"/>
                <a:buFontTx/>
                <a:buNone/>
                <a:tabLst/>
                <a:defRPr/>
              </a:pPr>
              <a:endParaRPr kumimoji="0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Calibri"/>
              </a:endParaRPr>
            </a:p>
          </p:txBody>
        </p:sp>
        <p:sp>
          <p:nvSpPr>
            <p:cNvPr id="53" name="Google Shape;2051;p79"/>
            <p:cNvSpPr/>
            <p:nvPr/>
          </p:nvSpPr>
          <p:spPr>
            <a:xfrm>
              <a:off x="281966" y="2657783"/>
              <a:ext cx="2855546" cy="351691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txBody>
            <a:bodyPr spcFirstLastPara="1" wrap="square" lIns="45700" tIns="45700" rIns="45700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800"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cs typeface="Calibri"/>
                </a:rPr>
                <a:t>Platform </a:t>
              </a:r>
              <a:r>
                <a:rPr kumimoji="0" lang="en-US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cs typeface="Calibri"/>
                </a:rPr>
                <a:t>Services – STL CNP</a:t>
              </a:r>
              <a:endParaRPr kumimoji="0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cs typeface="Calibri"/>
              </a:endParaRPr>
            </a:p>
          </p:txBody>
        </p:sp>
        <p:pic>
          <p:nvPicPr>
            <p:cNvPr id="54" name="Google Shape;1235;p73" descr="Image result for kubernetes icon"/>
            <p:cNvPicPr preferRelativeResize="0"/>
            <p:nvPr/>
          </p:nvPicPr>
          <p:blipFill rotWithShape="1">
            <a:blip r:embed="rId23">
              <a:alphaModFix/>
            </a:blip>
            <a:srcRect/>
            <a:stretch/>
          </p:blipFill>
          <p:spPr>
            <a:xfrm>
              <a:off x="4655712" y="4403954"/>
              <a:ext cx="375561" cy="277685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55" name="Google Shape;1236;p73"/>
            <p:cNvSpPr/>
            <p:nvPr/>
          </p:nvSpPr>
          <p:spPr>
            <a:xfrm>
              <a:off x="3895269" y="4710098"/>
              <a:ext cx="1896445" cy="27695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000"/>
                <a:buFont typeface="Arial"/>
                <a:buNone/>
                <a:tabLst/>
                <a:defRPr/>
              </a:pPr>
              <a:r>
                <a: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Quattrocento Sans"/>
                  <a:ea typeface="Quattrocento Sans"/>
                  <a:cs typeface="Quattrocento Sans"/>
                  <a:sym typeface="Quattrocento Sans"/>
                </a:rPr>
                <a:t>Kubernetes</a:t>
              </a:r>
              <a:endParaRPr kumimoji="0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cs typeface="Calibri"/>
                <a:sym typeface="Arial"/>
              </a:endParaRPr>
            </a:p>
          </p:txBody>
        </p:sp>
        <p:sp>
          <p:nvSpPr>
            <p:cNvPr id="56" name="Google Shape;1218;p73"/>
            <p:cNvSpPr/>
            <p:nvPr/>
          </p:nvSpPr>
          <p:spPr>
            <a:xfrm>
              <a:off x="5328174" y="4660801"/>
              <a:ext cx="1896445" cy="46162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000"/>
                <a:buFont typeface="Arial"/>
                <a:buNone/>
                <a:tabLst/>
                <a:defRPr/>
              </a:pPr>
              <a:r>
                <a: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Quattrocento Sans"/>
                  <a:ea typeface="Quattrocento Sans"/>
                  <a:cs typeface="Quattrocento Sans"/>
                  <a:sym typeface="Quattrocento Sans"/>
                </a:rPr>
                <a:t>Virtual</a:t>
              </a:r>
              <a:br>
                <a: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Quattrocento Sans"/>
                  <a:ea typeface="Quattrocento Sans"/>
                  <a:cs typeface="Quattrocento Sans"/>
                  <a:sym typeface="Quattrocento Sans"/>
                </a:rPr>
              </a:br>
              <a:r>
                <a: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Quattrocento Sans"/>
                  <a:ea typeface="Quattrocento Sans"/>
                  <a:cs typeface="Quattrocento Sans"/>
                  <a:sym typeface="Quattrocento Sans"/>
                </a:rPr>
                <a:t>Networking</a:t>
              </a:r>
              <a:endParaRPr kumimoji="0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cs typeface="Calibri"/>
                <a:sym typeface="Arial"/>
              </a:endParaRPr>
            </a:p>
          </p:txBody>
        </p:sp>
        <p:pic>
          <p:nvPicPr>
            <p:cNvPr id="57" name="Google Shape;1219;p73"/>
            <p:cNvPicPr preferRelativeResize="0"/>
            <p:nvPr/>
          </p:nvPicPr>
          <p:blipFill rotWithShape="1">
            <a:blip r:embed="rId24">
              <a:alphaModFix/>
            </a:blip>
            <a:srcRect/>
            <a:stretch/>
          </p:blipFill>
          <p:spPr>
            <a:xfrm>
              <a:off x="6166064" y="4411155"/>
              <a:ext cx="295615" cy="245717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58" name="Google Shape;1232;p73"/>
            <p:cNvPicPr preferRelativeResize="0"/>
            <p:nvPr/>
          </p:nvPicPr>
          <p:blipFill rotWithShape="1">
            <a:blip r:embed="rId25">
              <a:alphaModFix/>
            </a:blip>
            <a:srcRect/>
            <a:stretch/>
          </p:blipFill>
          <p:spPr>
            <a:xfrm>
              <a:off x="7579538" y="4313504"/>
              <a:ext cx="412104" cy="319618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59" name="Google Shape;1223;p73"/>
            <p:cNvSpPr/>
            <p:nvPr/>
          </p:nvSpPr>
          <p:spPr>
            <a:xfrm>
              <a:off x="6858497" y="4608842"/>
              <a:ext cx="1896037" cy="46162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000"/>
                <a:buFont typeface="Arial"/>
                <a:buNone/>
                <a:tabLst/>
                <a:defRPr/>
              </a:pPr>
              <a:r>
                <a: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Quattrocento Sans"/>
                  <a:ea typeface="Quattrocento Sans"/>
                  <a:cs typeface="Quattrocento Sans"/>
                  <a:sym typeface="Quattrocento Sans"/>
                </a:rPr>
                <a:t>App-workflow</a:t>
              </a:r>
              <a:br>
                <a: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Quattrocento Sans"/>
                  <a:ea typeface="Quattrocento Sans"/>
                  <a:cs typeface="Quattrocento Sans"/>
                  <a:sym typeface="Quattrocento Sans"/>
                </a:rPr>
              </a:br>
              <a:r>
                <a: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Quattrocento Sans"/>
                  <a:ea typeface="Quattrocento Sans"/>
                  <a:cs typeface="Quattrocento Sans"/>
                  <a:sym typeface="Quattrocento Sans"/>
                </a:rPr>
                <a:t>Manager</a:t>
              </a:r>
              <a:endParaRPr kumimoji="0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cs typeface="Calibri"/>
                <a:sym typeface="Arial"/>
              </a:endParaRPr>
            </a:p>
          </p:txBody>
        </p:sp>
        <p:sp>
          <p:nvSpPr>
            <p:cNvPr id="60" name="Rectangle: Rounded Corners 4">
              <a:extLst>
                <a:ext uri="{FF2B5EF4-FFF2-40B4-BE49-F238E27FC236}">
                  <a16:creationId xmlns:a16="http://schemas.microsoft.com/office/drawing/2014/main" id="{2FAEB5E5-2D07-4DE6-9E10-BBBCFA620BA7}"/>
                </a:ext>
              </a:extLst>
            </p:cNvPr>
            <p:cNvSpPr/>
            <p:nvPr/>
          </p:nvSpPr>
          <p:spPr>
            <a:xfrm>
              <a:off x="2325702" y="1592092"/>
              <a:ext cx="1095049" cy="29419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  <a:effectLst>
              <a:outerShdw blurRad="317500" sx="102000" sy="102000" algn="ctr" rotWithShape="0">
                <a:prstClr val="black">
                  <a:alpha val="13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10160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Pts val="2000"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1B48B6"/>
                  </a:solidFill>
                  <a:effectLst/>
                  <a:uLnTx/>
                  <a:uFillTx/>
                  <a:latin typeface="Calibri"/>
                  <a:cs typeface="Calibri"/>
                </a:rPr>
                <a:t>Digital </a:t>
              </a:r>
              <a:r>
                <a:rPr kumimoji="0" lang="en-US" sz="1000" b="0" i="0" u="none" strike="noStrike" kern="1200" cap="none" spc="0" normalizeH="0" baseline="0" noProof="0" dirty="0" err="1" smtClean="0">
                  <a:ln>
                    <a:noFill/>
                  </a:ln>
                  <a:solidFill>
                    <a:srgbClr val="1B48B6"/>
                  </a:solidFill>
                  <a:effectLst/>
                  <a:uLnTx/>
                  <a:uFillTx/>
                  <a:latin typeface="Calibri"/>
                  <a:cs typeface="Calibri"/>
                </a:rPr>
                <a:t>MarketPlace</a:t>
              </a: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1B48B6"/>
                </a:solidFill>
                <a:effectLst/>
                <a:uLnTx/>
                <a:uFillTx/>
                <a:latin typeface="Calibri"/>
                <a:cs typeface="Calibri"/>
              </a:endParaRPr>
            </a:p>
          </p:txBody>
        </p:sp>
        <p:sp>
          <p:nvSpPr>
            <p:cNvPr id="61" name="Rectangle: Rounded Corners 78">
              <a:extLst>
                <a:ext uri="{FF2B5EF4-FFF2-40B4-BE49-F238E27FC236}">
                  <a16:creationId xmlns:a16="http://schemas.microsoft.com/office/drawing/2014/main" id="{1B17B372-4837-4C92-8BBC-CB63D7F4F077}"/>
                </a:ext>
              </a:extLst>
            </p:cNvPr>
            <p:cNvSpPr/>
            <p:nvPr/>
          </p:nvSpPr>
          <p:spPr>
            <a:xfrm>
              <a:off x="3354127" y="1582948"/>
              <a:ext cx="810367" cy="237565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  <a:effectLst>
              <a:outerShdw blurRad="317500" sx="102000" sy="102000" algn="ctr" rotWithShape="0">
                <a:prstClr val="black">
                  <a:alpha val="13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10160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Pts val="2000"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1B48B6"/>
                  </a:solidFill>
                  <a:effectLst/>
                  <a:uLnTx/>
                  <a:uFillTx/>
                  <a:latin typeface="Calibri"/>
                  <a:cs typeface="Calibri"/>
                </a:rPr>
                <a:t>dBSS</a:t>
              </a:r>
              <a:endPara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1B48B6"/>
                </a:solidFill>
                <a:effectLst/>
                <a:uLnTx/>
                <a:uFillTx/>
                <a:latin typeface="Calibri"/>
                <a:cs typeface="Calibri"/>
              </a:endParaRPr>
            </a:p>
          </p:txBody>
        </p:sp>
        <p:sp>
          <p:nvSpPr>
            <p:cNvPr id="62" name="Rectangle: Rounded Corners 79">
              <a:extLst>
                <a:ext uri="{FF2B5EF4-FFF2-40B4-BE49-F238E27FC236}">
                  <a16:creationId xmlns:a16="http://schemas.microsoft.com/office/drawing/2014/main" id="{0A2C1EE6-B943-4EC5-B896-9C59563E0ABC}"/>
                </a:ext>
              </a:extLst>
            </p:cNvPr>
            <p:cNvSpPr/>
            <p:nvPr/>
          </p:nvSpPr>
          <p:spPr>
            <a:xfrm>
              <a:off x="2325702" y="1866337"/>
              <a:ext cx="977524" cy="206459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  <a:effectLst>
              <a:outerShdw blurRad="317500" sx="102000" sy="102000" algn="ctr" rotWithShape="0">
                <a:prstClr val="black">
                  <a:alpha val="13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10160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Pts val="2000"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1B48B6"/>
                  </a:solidFill>
                  <a:effectLst/>
                  <a:uLnTx/>
                  <a:uFillTx/>
                  <a:latin typeface="Calibri"/>
                  <a:cs typeface="Calibri"/>
                </a:rPr>
                <a:t>dSP</a:t>
              </a:r>
              <a:endPara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1B48B6"/>
                </a:solidFill>
                <a:effectLst/>
                <a:uLnTx/>
                <a:uFillTx/>
                <a:latin typeface="Calibri"/>
                <a:cs typeface="Calibri"/>
              </a:endParaRPr>
            </a:p>
          </p:txBody>
        </p: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F8FFBD8A-CE7F-4183-A9F4-D81FB6BE82B0}"/>
                </a:ext>
              </a:extLst>
            </p:cNvPr>
            <p:cNvSpPr txBox="1"/>
            <p:nvPr/>
          </p:nvSpPr>
          <p:spPr>
            <a:xfrm>
              <a:off x="4322715" y="2405358"/>
              <a:ext cx="1982405" cy="21544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6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Calibri"/>
                </a:rPr>
                <a:t>Telco Network Applications </a:t>
              </a:r>
              <a:r>
                <a:rPr kumimoji="0" lang="en-US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Calibri"/>
                </a:rPr>
                <a:t>(VNFs/CNFs)</a:t>
              </a:r>
            </a:p>
          </p:txBody>
        </p:sp>
        <p:sp>
          <p:nvSpPr>
            <p:cNvPr id="64" name="Rectangle: Rounded Corners 81">
              <a:extLst>
                <a:ext uri="{FF2B5EF4-FFF2-40B4-BE49-F238E27FC236}">
                  <a16:creationId xmlns:a16="http://schemas.microsoft.com/office/drawing/2014/main" id="{A5741D29-A8EC-4FFF-AC1F-630FF3940980}"/>
                </a:ext>
              </a:extLst>
            </p:cNvPr>
            <p:cNvSpPr/>
            <p:nvPr/>
          </p:nvSpPr>
          <p:spPr>
            <a:xfrm>
              <a:off x="4413004" y="1606149"/>
              <a:ext cx="810367" cy="237565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  <a:effectLst>
              <a:outerShdw blurRad="317500" sx="102000" sy="102000" algn="ctr" rotWithShape="0">
                <a:prstClr val="black">
                  <a:alpha val="13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10160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Pts val="2000"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1B48B6"/>
                  </a:solidFill>
                  <a:effectLst/>
                  <a:uLnTx/>
                  <a:uFillTx/>
                  <a:latin typeface="Calibri"/>
                  <a:cs typeface="Calibri"/>
                </a:rPr>
                <a:t>dPCRF</a:t>
              </a:r>
              <a:endPara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1B48B6"/>
                </a:solidFill>
                <a:effectLst/>
                <a:uLnTx/>
                <a:uFillTx/>
                <a:latin typeface="Calibri"/>
                <a:cs typeface="Calibri"/>
              </a:endParaRPr>
            </a:p>
          </p:txBody>
        </p:sp>
        <p:sp>
          <p:nvSpPr>
            <p:cNvPr id="65" name="Rectangle: Rounded Corners 82">
              <a:extLst>
                <a:ext uri="{FF2B5EF4-FFF2-40B4-BE49-F238E27FC236}">
                  <a16:creationId xmlns:a16="http://schemas.microsoft.com/office/drawing/2014/main" id="{BCCD3D7F-1A7B-4178-BDEB-36D08007B66A}"/>
                </a:ext>
              </a:extLst>
            </p:cNvPr>
            <p:cNvSpPr/>
            <p:nvPr/>
          </p:nvSpPr>
          <p:spPr>
            <a:xfrm>
              <a:off x="5251927" y="1614336"/>
              <a:ext cx="810367" cy="237565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  <a:effectLst>
              <a:outerShdw blurRad="317500" sx="102000" sy="102000" algn="ctr" rotWithShape="0">
                <a:prstClr val="black">
                  <a:alpha val="13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10160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Pts val="2000"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1B48B6"/>
                  </a:solidFill>
                  <a:effectLst/>
                  <a:uLnTx/>
                  <a:uFillTx/>
                  <a:latin typeface="Calibri"/>
                  <a:cs typeface="Calibri"/>
                </a:rPr>
                <a:t>5G PCF</a:t>
              </a:r>
            </a:p>
          </p:txBody>
        </p:sp>
        <p:sp>
          <p:nvSpPr>
            <p:cNvPr id="66" name="Rectangle: Rounded Corners 83">
              <a:extLst>
                <a:ext uri="{FF2B5EF4-FFF2-40B4-BE49-F238E27FC236}">
                  <a16:creationId xmlns:a16="http://schemas.microsoft.com/office/drawing/2014/main" id="{2CD8159C-1DA3-493B-9FCE-D1B4E5B6D2A3}"/>
                </a:ext>
              </a:extLst>
            </p:cNvPr>
            <p:cNvSpPr/>
            <p:nvPr/>
          </p:nvSpPr>
          <p:spPr>
            <a:xfrm>
              <a:off x="3308483" y="2097397"/>
              <a:ext cx="846675" cy="248271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  <a:effectLst>
              <a:outerShdw blurRad="317500" sx="102000" sy="102000" algn="ctr" rotWithShape="0">
                <a:prstClr val="black">
                  <a:alpha val="13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10160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Pts val="2000"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1B48B6"/>
                  </a:solidFill>
                  <a:effectLst/>
                  <a:uLnTx/>
                  <a:uFillTx/>
                  <a:latin typeface="Calibri"/>
                  <a:cs typeface="Calibri"/>
                </a:rPr>
                <a:t>…</a:t>
              </a:r>
            </a:p>
          </p:txBody>
        </p: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361737EE-2061-4195-9F67-DC7F4164EE6A}"/>
                </a:ext>
              </a:extLst>
            </p:cNvPr>
            <p:cNvSpPr txBox="1"/>
            <p:nvPr/>
          </p:nvSpPr>
          <p:spPr>
            <a:xfrm>
              <a:off x="7350511" y="2427695"/>
              <a:ext cx="3325779" cy="2308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600"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Calibri"/>
                </a:rPr>
                <a:t>Big Data / Data Analytics</a:t>
              </a:r>
            </a:p>
          </p:txBody>
        </p:sp>
        <p:sp>
          <p:nvSpPr>
            <p:cNvPr id="68" name="Rectangle: Rounded Corners 85">
              <a:extLst>
                <a:ext uri="{FF2B5EF4-FFF2-40B4-BE49-F238E27FC236}">
                  <a16:creationId xmlns:a16="http://schemas.microsoft.com/office/drawing/2014/main" id="{820C677B-8A8E-4030-96D3-57CF83C71B97}"/>
                </a:ext>
              </a:extLst>
            </p:cNvPr>
            <p:cNvSpPr/>
            <p:nvPr/>
          </p:nvSpPr>
          <p:spPr>
            <a:xfrm>
              <a:off x="8151987" y="1613446"/>
              <a:ext cx="886186" cy="206309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  <a:effectLst>
              <a:outerShdw blurRad="317500" sx="102000" sy="102000" algn="ctr" rotWithShape="0">
                <a:prstClr val="black">
                  <a:alpha val="13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10160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Pts val="2000"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1B48B6"/>
                  </a:solidFill>
                  <a:effectLst/>
                  <a:uLnTx/>
                  <a:uFillTx/>
                  <a:latin typeface="Calibri"/>
                  <a:cs typeface="Calibri"/>
                </a:rPr>
                <a:t>Intellza</a:t>
              </a:r>
            </a:p>
          </p:txBody>
        </p:sp>
        <p:sp>
          <p:nvSpPr>
            <p:cNvPr id="69" name="Rectangle: Rounded Corners 86">
              <a:extLst>
                <a:ext uri="{FF2B5EF4-FFF2-40B4-BE49-F238E27FC236}">
                  <a16:creationId xmlns:a16="http://schemas.microsoft.com/office/drawing/2014/main" id="{AE457AD5-1508-4F0A-8F94-CBCFB6DB15F7}"/>
                </a:ext>
              </a:extLst>
            </p:cNvPr>
            <p:cNvSpPr/>
            <p:nvPr/>
          </p:nvSpPr>
          <p:spPr>
            <a:xfrm>
              <a:off x="9075654" y="1605017"/>
              <a:ext cx="859143" cy="206024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  <a:effectLst>
              <a:outerShdw blurRad="317500" sx="102000" sy="102000" algn="ctr" rotWithShape="0">
                <a:prstClr val="black">
                  <a:alpha val="13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10160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Pts val="2000"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1B48B6"/>
                  </a:solidFill>
                  <a:effectLst/>
                  <a:uLnTx/>
                  <a:uFillTx/>
                  <a:latin typeface="Calibri"/>
                  <a:cs typeface="Calibri"/>
                </a:rPr>
                <a:t>IPLMS</a:t>
              </a:r>
            </a:p>
          </p:txBody>
        </p:sp>
        <p:sp>
          <p:nvSpPr>
            <p:cNvPr id="70" name="Rectangle: Rounded Corners 87">
              <a:extLst>
                <a:ext uri="{FF2B5EF4-FFF2-40B4-BE49-F238E27FC236}">
                  <a16:creationId xmlns:a16="http://schemas.microsoft.com/office/drawing/2014/main" id="{3179EFD2-E659-474F-A59F-E80BD6C0F307}"/>
                </a:ext>
              </a:extLst>
            </p:cNvPr>
            <p:cNvSpPr/>
            <p:nvPr/>
          </p:nvSpPr>
          <p:spPr>
            <a:xfrm>
              <a:off x="8108521" y="1877604"/>
              <a:ext cx="964447" cy="259261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  <a:effectLst>
              <a:outerShdw blurRad="317500" sx="102000" sy="102000" algn="ctr" rotWithShape="0">
                <a:prstClr val="black">
                  <a:alpha val="13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10160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Pts val="2000"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1B48B6"/>
                  </a:solidFill>
                  <a:effectLst/>
                  <a:uLnTx/>
                  <a:uFillTx/>
                  <a:latin typeface="Calibri"/>
                  <a:cs typeface="Calibri"/>
                </a:rPr>
                <a:t>dMediation</a:t>
              </a:r>
            </a:p>
          </p:txBody>
        </p:sp>
        <p:sp>
          <p:nvSpPr>
            <p:cNvPr id="71" name="Rectangle: Rounded Corners 88">
              <a:extLst>
                <a:ext uri="{FF2B5EF4-FFF2-40B4-BE49-F238E27FC236}">
                  <a16:creationId xmlns:a16="http://schemas.microsoft.com/office/drawing/2014/main" id="{97B6F152-E636-4068-B15C-8517696763A6}"/>
                </a:ext>
              </a:extLst>
            </p:cNvPr>
            <p:cNvSpPr/>
            <p:nvPr/>
          </p:nvSpPr>
          <p:spPr>
            <a:xfrm>
              <a:off x="9105853" y="1877081"/>
              <a:ext cx="810367" cy="237565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  <a:effectLst>
              <a:outerShdw blurRad="317500" sx="102000" sy="102000" algn="ctr" rotWithShape="0">
                <a:prstClr val="black">
                  <a:alpha val="13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10160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Pts val="2000"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1B48B6"/>
                  </a:solidFill>
                  <a:effectLst/>
                  <a:uLnTx/>
                  <a:uFillTx/>
                  <a:latin typeface="Calibri"/>
                  <a:cs typeface="Calibri"/>
                </a:rPr>
                <a:t>CGF/CGNAT</a:t>
              </a: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059E9FD9-EED1-4A42-8CA6-7E0D7928B6DB}"/>
                </a:ext>
              </a:extLst>
            </p:cNvPr>
            <p:cNvSpPr txBox="1"/>
            <p:nvPr/>
          </p:nvSpPr>
          <p:spPr>
            <a:xfrm>
              <a:off x="2224425" y="2434569"/>
              <a:ext cx="1982405" cy="20005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600"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Calibri"/>
                </a:rPr>
                <a:t>BSS/OSS (CNFs)</a:t>
              </a:r>
              <a:endPara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Calibri"/>
              </a:endParaRPr>
            </a:p>
          </p:txBody>
        </p:sp>
        <p:sp>
          <p:nvSpPr>
            <p:cNvPr id="73" name="Rectangle: Rounded Corners 90">
              <a:extLst>
                <a:ext uri="{FF2B5EF4-FFF2-40B4-BE49-F238E27FC236}">
                  <a16:creationId xmlns:a16="http://schemas.microsoft.com/office/drawing/2014/main" id="{799F7F12-25D9-43E7-A21C-38EFCD2BAE5E}"/>
                </a:ext>
              </a:extLst>
            </p:cNvPr>
            <p:cNvSpPr/>
            <p:nvPr/>
          </p:nvSpPr>
          <p:spPr>
            <a:xfrm>
              <a:off x="4415778" y="1911067"/>
              <a:ext cx="810367" cy="237565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  <a:effectLst>
              <a:outerShdw blurRad="317500" sx="102000" sy="102000" algn="ctr" rotWithShape="0">
                <a:prstClr val="black">
                  <a:alpha val="13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10160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Pts val="2000"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1B48B6"/>
                  </a:solidFill>
                  <a:effectLst/>
                  <a:uLnTx/>
                  <a:uFillTx/>
                  <a:latin typeface="Calibri"/>
                  <a:cs typeface="Calibri"/>
                </a:rPr>
                <a:t>dWiFi</a:t>
              </a:r>
              <a:endPara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1B48B6"/>
                </a:solidFill>
                <a:effectLst/>
                <a:uLnTx/>
                <a:uFillTx/>
                <a:latin typeface="Calibri"/>
                <a:cs typeface="Calibri"/>
              </a:endParaRPr>
            </a:p>
          </p:txBody>
        </p:sp>
        <p:sp>
          <p:nvSpPr>
            <p:cNvPr id="74" name="Rectangle: Rounded Corners 91">
              <a:extLst>
                <a:ext uri="{FF2B5EF4-FFF2-40B4-BE49-F238E27FC236}">
                  <a16:creationId xmlns:a16="http://schemas.microsoft.com/office/drawing/2014/main" id="{FE2D861E-6429-4044-B944-E6419A6AEDB9}"/>
                </a:ext>
              </a:extLst>
            </p:cNvPr>
            <p:cNvSpPr/>
            <p:nvPr/>
          </p:nvSpPr>
          <p:spPr>
            <a:xfrm>
              <a:off x="5274667" y="1907347"/>
              <a:ext cx="810367" cy="237565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  <a:effectLst>
              <a:outerShdw blurRad="317500" sx="102000" sy="102000" algn="ctr" rotWithShape="0">
                <a:prstClr val="black">
                  <a:alpha val="13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10160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Pts val="2000"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1B48B6"/>
                  </a:solidFill>
                  <a:effectLst/>
                  <a:uLnTx/>
                  <a:uFillTx/>
                  <a:latin typeface="Calibri"/>
                  <a:cs typeface="Calibri"/>
                </a:rPr>
                <a:t>…</a:t>
              </a:r>
            </a:p>
          </p:txBody>
        </p:sp>
        <p:sp>
          <p:nvSpPr>
            <p:cNvPr id="75" name="Rectangle: Rounded Corners 92">
              <a:extLst>
                <a:ext uri="{FF2B5EF4-FFF2-40B4-BE49-F238E27FC236}">
                  <a16:creationId xmlns:a16="http://schemas.microsoft.com/office/drawing/2014/main" id="{E207605C-5E21-4160-80CF-68848B77D81D}"/>
                </a:ext>
              </a:extLst>
            </p:cNvPr>
            <p:cNvSpPr/>
            <p:nvPr/>
          </p:nvSpPr>
          <p:spPr>
            <a:xfrm>
              <a:off x="3331782" y="1858027"/>
              <a:ext cx="862215" cy="220319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  <a:effectLst>
              <a:outerShdw blurRad="317500" sx="102000" sy="102000" algn="ctr" rotWithShape="0">
                <a:prstClr val="black">
                  <a:alpha val="13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10160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Pts val="2000"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1B48B6"/>
                  </a:solidFill>
                  <a:effectLst/>
                  <a:uLnTx/>
                  <a:uFillTx/>
                  <a:latin typeface="Calibri"/>
                  <a:cs typeface="Calibri"/>
                </a:rPr>
                <a:t>dPCC</a:t>
              </a:r>
              <a:endPara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1B48B6"/>
                </a:solidFill>
                <a:effectLst/>
                <a:uLnTx/>
                <a:uFillTx/>
                <a:latin typeface="Calibri"/>
                <a:cs typeface="Calibri"/>
              </a:endParaRPr>
            </a:p>
          </p:txBody>
        </p:sp>
        <p:sp>
          <p:nvSpPr>
            <p:cNvPr id="76" name="Rectangle: Rounded Corners 93">
              <a:extLst>
                <a:ext uri="{FF2B5EF4-FFF2-40B4-BE49-F238E27FC236}">
                  <a16:creationId xmlns:a16="http://schemas.microsoft.com/office/drawing/2014/main" id="{2D425F8B-ED72-4C5C-BE54-7A4F723BE297}"/>
                </a:ext>
              </a:extLst>
            </p:cNvPr>
            <p:cNvSpPr/>
            <p:nvPr/>
          </p:nvSpPr>
          <p:spPr>
            <a:xfrm>
              <a:off x="2355841" y="2097200"/>
              <a:ext cx="917101" cy="237565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  <a:effectLst>
              <a:outerShdw blurRad="317500" sx="102000" sy="102000" algn="ctr" rotWithShape="0">
                <a:prstClr val="black">
                  <a:alpha val="13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10160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Pts val="2000"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1B48B6"/>
                  </a:solidFill>
                  <a:effectLst/>
                  <a:uLnTx/>
                  <a:uFillTx/>
                  <a:latin typeface="Calibri"/>
                  <a:cs typeface="Calibri"/>
                </a:rPr>
                <a:t>5G CHF</a:t>
              </a:r>
            </a:p>
          </p:txBody>
        </p:sp>
        <p:sp>
          <p:nvSpPr>
            <p:cNvPr id="77" name="Google Shape;2051;p79"/>
            <p:cNvSpPr/>
            <p:nvPr/>
          </p:nvSpPr>
          <p:spPr>
            <a:xfrm>
              <a:off x="317637" y="4204965"/>
              <a:ext cx="2819875" cy="351691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txBody>
            <a:bodyPr spcFirstLastPara="1" wrap="square" lIns="45700" tIns="45700" rIns="45700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800"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cs typeface="Calibri"/>
                </a:rPr>
                <a:t>PaaS – STL CNP</a:t>
              </a:r>
              <a:endParaRPr kumimoji="0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cs typeface="Calibri"/>
              </a:endParaRPr>
            </a:p>
          </p:txBody>
        </p:sp>
        <p:pic>
          <p:nvPicPr>
            <p:cNvPr id="78" name="Picture 77"/>
            <p:cNvPicPr>
              <a:picLocks noChangeAspect="1"/>
            </p:cNvPicPr>
            <p:nvPr/>
          </p:nvPicPr>
          <p:blipFill>
            <a:blip r:embed="rId2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04343" y="3125736"/>
              <a:ext cx="763521" cy="343585"/>
            </a:xfrm>
            <a:prstGeom prst="rect">
              <a:avLst/>
            </a:prstGeom>
            <a:ln>
              <a:noFill/>
            </a:ln>
          </p:spPr>
        </p:pic>
        <p:pic>
          <p:nvPicPr>
            <p:cNvPr id="79" name="Picture 78"/>
            <p:cNvPicPr>
              <a:picLocks noChangeAspect="1"/>
            </p:cNvPicPr>
            <p:nvPr/>
          </p:nvPicPr>
          <p:blipFill>
            <a:blip r:embed="rId2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0325" y="3004387"/>
              <a:ext cx="534433" cy="752165"/>
            </a:xfrm>
            <a:prstGeom prst="rect">
              <a:avLst/>
            </a:prstGeom>
          </p:spPr>
        </p:pic>
        <p:pic>
          <p:nvPicPr>
            <p:cNvPr id="80" name="Picture 2" descr="RDM: A Redis Desktop Administration Chida | Ubunlog"/>
            <p:cNvPicPr>
              <a:picLocks noChangeAspect="1" noChangeArrowheads="1"/>
            </p:cNvPicPr>
            <p:nvPr/>
          </p:nvPicPr>
          <p:blipFill>
            <a:blip r:embed="rId2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06677" y="3316676"/>
              <a:ext cx="867253" cy="31973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1" name="Rectangle 80"/>
            <p:cNvSpPr/>
            <p:nvPr/>
          </p:nvSpPr>
          <p:spPr>
            <a:xfrm>
              <a:off x="5203458" y="3778692"/>
              <a:ext cx="1319592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E0121D"/>
                  </a:solidFill>
                  <a:effectLst/>
                  <a:uLnTx/>
                  <a:uFillTx/>
                  <a:latin typeface="Calibri"/>
                  <a:cs typeface="Calibri"/>
                </a:rPr>
                <a:t>ODA Canvas </a:t>
              </a: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E0121D"/>
                  </a:solidFill>
                  <a:effectLst/>
                  <a:uLnTx/>
                  <a:uFillTx/>
                  <a:latin typeface="Calibri"/>
                  <a:cs typeface="Calibri"/>
                </a:rPr>
                <a:t>Services </a:t>
              </a: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Calibri"/>
              </a:endParaRPr>
            </a:p>
          </p:txBody>
        </p:sp>
        <p:sp>
          <p:nvSpPr>
            <p:cNvPr id="82" name="Rectangle 81"/>
            <p:cNvSpPr/>
            <p:nvPr/>
          </p:nvSpPr>
          <p:spPr>
            <a:xfrm>
              <a:off x="4441461" y="3896550"/>
              <a:ext cx="579005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E0121D"/>
                  </a:solidFill>
                  <a:effectLst/>
                  <a:uLnTx/>
                  <a:uFillTx/>
                  <a:latin typeface="Calibri"/>
                  <a:cs typeface="Calibri"/>
                </a:rPr>
                <a:t>Component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E0121D"/>
                  </a:solidFill>
                  <a:effectLst/>
                  <a:uLnTx/>
                  <a:uFillTx/>
                  <a:latin typeface="Calibri"/>
                  <a:cs typeface="Calibri"/>
                </a:rPr>
                <a:t>Controller</a:t>
              </a:r>
              <a:endPara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Calibri"/>
              </a:endParaRPr>
            </a:p>
          </p:txBody>
        </p:sp>
        <p:sp>
          <p:nvSpPr>
            <p:cNvPr id="83" name="Rectangle 82"/>
            <p:cNvSpPr/>
            <p:nvPr/>
          </p:nvSpPr>
          <p:spPr>
            <a:xfrm>
              <a:off x="4916991" y="3896551"/>
              <a:ext cx="508473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E0121D"/>
                  </a:solidFill>
                  <a:effectLst/>
                  <a:uLnTx/>
                  <a:uFillTx/>
                  <a:latin typeface="Calibri"/>
                  <a:cs typeface="Calibri"/>
                </a:rPr>
                <a:t>Security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E0121D"/>
                  </a:solidFill>
                  <a:effectLst/>
                  <a:uLnTx/>
                  <a:uFillTx/>
                  <a:latin typeface="Calibri"/>
                  <a:cs typeface="Calibri"/>
                </a:rPr>
                <a:t>Controller</a:t>
              </a:r>
              <a:endPara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Calibri"/>
              </a:endParaRPr>
            </a:p>
          </p:txBody>
        </p:sp>
        <p:sp>
          <p:nvSpPr>
            <p:cNvPr id="84" name="Rectangle 83"/>
            <p:cNvSpPr/>
            <p:nvPr/>
          </p:nvSpPr>
          <p:spPr>
            <a:xfrm>
              <a:off x="5392521" y="3896552"/>
              <a:ext cx="508473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E0121D"/>
                  </a:solidFill>
                  <a:effectLst/>
                  <a:uLnTx/>
                  <a:uFillTx/>
                  <a:latin typeface="Calibri"/>
                  <a:cs typeface="Calibri"/>
                </a:rPr>
                <a:t>API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E0121D"/>
                  </a:solidFill>
                  <a:effectLst/>
                  <a:uLnTx/>
                  <a:uFillTx/>
                  <a:latin typeface="Calibri"/>
                  <a:cs typeface="Calibri"/>
                </a:rPr>
                <a:t>Controller</a:t>
              </a:r>
              <a:endPara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Calibri"/>
              </a:endParaRPr>
            </a:p>
          </p:txBody>
        </p:sp>
        <p:sp>
          <p:nvSpPr>
            <p:cNvPr id="85" name="Rectangle 84"/>
            <p:cNvSpPr/>
            <p:nvPr/>
          </p:nvSpPr>
          <p:spPr>
            <a:xfrm>
              <a:off x="5765662" y="3896556"/>
              <a:ext cx="710452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E0121D"/>
                  </a:solidFill>
                  <a:effectLst/>
                  <a:uLnTx/>
                  <a:uFillTx/>
                  <a:latin typeface="Calibri"/>
                  <a:cs typeface="Calibri"/>
                </a:rPr>
                <a:t>Component CRD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E0121D"/>
                  </a:solidFill>
                  <a:effectLst/>
                  <a:uLnTx/>
                  <a:uFillTx/>
                  <a:latin typeface="Calibri"/>
                  <a:cs typeface="Calibri"/>
                </a:rPr>
                <a:t>Webhook</a:t>
              </a:r>
              <a:endPara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941897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2"/>
          <p:cNvSpPr>
            <a:spLocks noGrp="1"/>
          </p:cNvSpPr>
          <p:nvPr>
            <p:ph type="title"/>
          </p:nvPr>
        </p:nvSpPr>
        <p:spPr>
          <a:xfrm>
            <a:off x="452852" y="294639"/>
            <a:ext cx="11637548" cy="549275"/>
          </a:xfrm>
        </p:spPr>
        <p:txBody>
          <a:bodyPr>
            <a:normAutofit/>
          </a:bodyPr>
          <a:lstStyle/>
          <a:p>
            <a:r>
              <a:rPr lang="en-US" dirty="0"/>
              <a:t>STL PCRF / PCF Deployment Model on ODA Canvas</a:t>
            </a:r>
          </a:p>
        </p:txBody>
      </p:sp>
      <p:grpSp>
        <p:nvGrpSpPr>
          <p:cNvPr id="5" name="Group 4"/>
          <p:cNvGrpSpPr/>
          <p:nvPr/>
        </p:nvGrpSpPr>
        <p:grpSpPr>
          <a:xfrm>
            <a:off x="177406" y="961939"/>
            <a:ext cx="10930665" cy="5182298"/>
            <a:chOff x="128586" y="961939"/>
            <a:chExt cx="10930665" cy="5182298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A0D0217E-5A90-4485-8313-32FD880654F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t="8314" b="15414"/>
            <a:stretch/>
          </p:blipFill>
          <p:spPr>
            <a:xfrm>
              <a:off x="128586" y="982959"/>
              <a:ext cx="9921101" cy="4998254"/>
            </a:xfrm>
            <a:prstGeom prst="rect">
              <a:avLst/>
            </a:prstGeom>
          </p:spPr>
        </p:pic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4F4AE083-E69B-4281-82C9-EE1DB5FE0195}"/>
                </a:ext>
              </a:extLst>
            </p:cNvPr>
            <p:cNvGrpSpPr/>
            <p:nvPr/>
          </p:nvGrpSpPr>
          <p:grpSpPr>
            <a:xfrm>
              <a:off x="128586" y="961939"/>
              <a:ext cx="9921101" cy="4998254"/>
              <a:chOff x="128586" y="982959"/>
              <a:chExt cx="9921101" cy="4998254"/>
            </a:xfrm>
          </p:grpSpPr>
          <p:pic>
            <p:nvPicPr>
              <p:cNvPr id="18" name="Picture 17">
                <a:extLst>
                  <a:ext uri="{FF2B5EF4-FFF2-40B4-BE49-F238E27FC236}">
                    <a16:creationId xmlns:a16="http://schemas.microsoft.com/office/drawing/2014/main" id="{A0D0217E-5A90-4485-8313-32FD880654F9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/>
              <a:srcRect t="8314" b="15414"/>
              <a:stretch/>
            </p:blipFill>
            <p:spPr>
              <a:xfrm>
                <a:off x="128586" y="982959"/>
                <a:ext cx="9921101" cy="4998254"/>
              </a:xfrm>
              <a:prstGeom prst="rect">
                <a:avLst/>
              </a:prstGeom>
            </p:spPr>
          </p:pic>
          <p:grpSp>
            <p:nvGrpSpPr>
              <p:cNvPr id="19" name="Group 18">
                <a:extLst>
                  <a:ext uri="{FF2B5EF4-FFF2-40B4-BE49-F238E27FC236}">
                    <a16:creationId xmlns:a16="http://schemas.microsoft.com/office/drawing/2014/main" id="{0D1C9554-E7EC-4106-A7B4-12067B63DD01}"/>
                  </a:ext>
                </a:extLst>
              </p:cNvPr>
              <p:cNvGrpSpPr/>
              <p:nvPr/>
            </p:nvGrpSpPr>
            <p:grpSpPr>
              <a:xfrm>
                <a:off x="6200361" y="4046275"/>
                <a:ext cx="2507394" cy="1216605"/>
                <a:chOff x="6200361" y="4046275"/>
                <a:chExt cx="2507394" cy="1216605"/>
              </a:xfrm>
            </p:grpSpPr>
            <p:sp>
              <p:nvSpPr>
                <p:cNvPr id="20" name="Rectangle: Rounded Corners 9">
                  <a:extLst>
                    <a:ext uri="{FF2B5EF4-FFF2-40B4-BE49-F238E27FC236}">
                      <a16:creationId xmlns:a16="http://schemas.microsoft.com/office/drawing/2014/main" id="{2CA75F35-F3B8-4F08-8FEB-2EB5657DAF51}"/>
                    </a:ext>
                  </a:extLst>
                </p:cNvPr>
                <p:cNvSpPr/>
                <p:nvPr/>
              </p:nvSpPr>
              <p:spPr>
                <a:xfrm>
                  <a:off x="6200361" y="4195095"/>
                  <a:ext cx="2507394" cy="1067785"/>
                </a:xfrm>
                <a:prstGeom prst="roundRect">
                  <a:avLst>
                    <a:gd name="adj" fmla="val 12938"/>
                  </a:avLst>
                </a:prstGeom>
                <a:solidFill>
                  <a:schemeClr val="bg1"/>
                </a:solidFill>
                <a:ln>
                  <a:solidFill>
                    <a:schemeClr val="bg1">
                      <a:lumMod val="75000"/>
                    </a:schemeClr>
                  </a:solidFill>
                  <a:prstDash val="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tIns="144000" rtlCol="0" anchor="t"/>
                <a:lstStyle/>
                <a:p>
                  <a:pPr marL="0" marR="0" lvl="0" indent="0" algn="l" defTabSz="91424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9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>
                          <a:lumMod val="50000"/>
                        </a:prstClr>
                      </a:solidFill>
                      <a:effectLst/>
                      <a:uLnTx/>
                      <a:uFillTx/>
                      <a:latin typeface="Avenir Next LT Pro" panose="020B0504020202020204" pitchFamily="34" charset="0"/>
                      <a:ea typeface="+mn-ea"/>
                      <a:cs typeface="Calibri"/>
                    </a:rPr>
                    <a:t>Canvas</a:t>
                  </a:r>
                  <a:endPara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>
                        <a:lumMod val="50000"/>
                      </a:prstClr>
                    </a:solidFill>
                    <a:effectLst/>
                    <a:uLnTx/>
                    <a:uFillTx/>
                    <a:latin typeface="Avenir Next LT Pro" panose="020B0504020202020204" pitchFamily="34" charset="0"/>
                    <a:ea typeface="+mn-ea"/>
                    <a:cs typeface="Calibri"/>
                  </a:endParaRPr>
                </a:p>
              </p:txBody>
            </p:sp>
            <p:pic>
              <p:nvPicPr>
                <p:cNvPr id="21" name="Picture 20">
                  <a:extLst>
                    <a:ext uri="{FF2B5EF4-FFF2-40B4-BE49-F238E27FC236}">
                      <a16:creationId xmlns:a16="http://schemas.microsoft.com/office/drawing/2014/main" id="{9968C962-39C3-4CDA-A937-A3292A088E2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6318471" y="4046275"/>
                  <a:ext cx="331884" cy="335491"/>
                </a:xfrm>
                <a:prstGeom prst="rect">
                  <a:avLst/>
                </a:prstGeom>
              </p:spPr>
            </p:pic>
            <p:pic>
              <p:nvPicPr>
                <p:cNvPr id="22" name="Picture 21">
                  <a:extLst>
                    <a:ext uri="{FF2B5EF4-FFF2-40B4-BE49-F238E27FC236}">
                      <a16:creationId xmlns:a16="http://schemas.microsoft.com/office/drawing/2014/main" id="{EA781C3B-FB99-4A2C-8F8F-AC60BEF7B27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/>
                <a:stretch>
                  <a:fillRect/>
                </a:stretch>
              </p:blipFill>
              <p:spPr>
                <a:xfrm>
                  <a:off x="6352422" y="4509566"/>
                  <a:ext cx="2238375" cy="562524"/>
                </a:xfrm>
                <a:prstGeom prst="rect">
                  <a:avLst/>
                </a:prstGeom>
              </p:spPr>
            </p:pic>
          </p:grpSp>
        </p:grpSp>
        <p:sp>
          <p:nvSpPr>
            <p:cNvPr id="8" name="Callout: Line 12">
              <a:extLst>
                <a:ext uri="{FF2B5EF4-FFF2-40B4-BE49-F238E27FC236}">
                  <a16:creationId xmlns:a16="http://schemas.microsoft.com/office/drawing/2014/main" id="{DF030AEB-D667-4DDD-9EB6-07946B55DA3F}"/>
                </a:ext>
              </a:extLst>
            </p:cNvPr>
            <p:cNvSpPr/>
            <p:nvPr/>
          </p:nvSpPr>
          <p:spPr>
            <a:xfrm>
              <a:off x="9552410" y="2141610"/>
              <a:ext cx="1506841" cy="523220"/>
            </a:xfrm>
            <a:prstGeom prst="borderCallout1">
              <a:avLst>
                <a:gd name="adj1" fmla="val 18750"/>
                <a:gd name="adj2" fmla="val -8333"/>
                <a:gd name="adj3" fmla="val 118043"/>
                <a:gd name="adj4" fmla="val -106591"/>
              </a:avLst>
            </a:prstGeom>
            <a:noFill/>
            <a:ln w="12700" cap="flat" cmpd="sng" algn="ctr">
              <a:solidFill>
                <a:srgbClr val="E0121D"/>
              </a:solidFill>
              <a:prstDash val="solid"/>
              <a:miter lim="800000"/>
            </a:ln>
            <a:effectLst/>
          </p:spPr>
          <p:txBody>
            <a:bodyPr wrap="square" lIns="54000" rIns="54000" rtlCol="0" anchor="ctr">
              <a:spAutoFit/>
            </a:bodyPr>
            <a:lstStyle/>
            <a:p>
              <a:pPr marL="0" marR="0" lvl="0" indent="0" algn="ctr" defTabSz="9142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E0121D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/>
                </a:rPr>
                <a:t>ODA Functional Components</a:t>
              </a:r>
            </a:p>
          </p:txBody>
        </p:sp>
        <p:sp>
          <p:nvSpPr>
            <p:cNvPr id="9" name="Callout: Line 14">
              <a:extLst>
                <a:ext uri="{FF2B5EF4-FFF2-40B4-BE49-F238E27FC236}">
                  <a16:creationId xmlns:a16="http://schemas.microsoft.com/office/drawing/2014/main" id="{A8248BBD-4FFA-48FB-BFC6-38C54586EA72}"/>
                </a:ext>
              </a:extLst>
            </p:cNvPr>
            <p:cNvSpPr/>
            <p:nvPr/>
          </p:nvSpPr>
          <p:spPr>
            <a:xfrm>
              <a:off x="2897954" y="5836460"/>
              <a:ext cx="1223883" cy="307777"/>
            </a:xfrm>
            <a:prstGeom prst="borderCallout1">
              <a:avLst>
                <a:gd name="adj1" fmla="val 18750"/>
                <a:gd name="adj2" fmla="val -8333"/>
                <a:gd name="adj3" fmla="val -315300"/>
                <a:gd name="adj4" fmla="val -59411"/>
              </a:avLst>
            </a:prstGeom>
            <a:noFill/>
            <a:ln w="12700" cap="flat" cmpd="sng" algn="ctr">
              <a:solidFill>
                <a:srgbClr val="E0121D"/>
              </a:solidFill>
              <a:prstDash val="solid"/>
              <a:miter lim="800000"/>
            </a:ln>
            <a:effectLst/>
          </p:spPr>
          <p:txBody>
            <a:bodyPr lIns="54000" rIns="54000" rtlCol="0" anchor="ctr">
              <a:spAutoFit/>
            </a:bodyPr>
            <a:lstStyle/>
            <a:p>
              <a:pPr marL="0" marR="0" lvl="0" indent="0" algn="ctr" defTabSz="9142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rgbClr val="E0121D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/>
                </a:rPr>
                <a:t>System</a:t>
              </a:r>
            </a:p>
          </p:txBody>
        </p:sp>
        <p:sp>
          <p:nvSpPr>
            <p:cNvPr id="10" name="Callout: Line 13">
              <a:extLst>
                <a:ext uri="{FF2B5EF4-FFF2-40B4-BE49-F238E27FC236}">
                  <a16:creationId xmlns:a16="http://schemas.microsoft.com/office/drawing/2014/main" id="{35F48668-C2A3-498D-99F0-DA7ED45CE59E}"/>
                </a:ext>
              </a:extLst>
            </p:cNvPr>
            <p:cNvSpPr/>
            <p:nvPr/>
          </p:nvSpPr>
          <p:spPr>
            <a:xfrm>
              <a:off x="9610871" y="4346701"/>
              <a:ext cx="1389921" cy="523220"/>
            </a:xfrm>
            <a:prstGeom prst="borderCallout1">
              <a:avLst>
                <a:gd name="adj1" fmla="val 18750"/>
                <a:gd name="adj2" fmla="val -8333"/>
                <a:gd name="adj3" fmla="val 72792"/>
                <a:gd name="adj4" fmla="val -103115"/>
              </a:avLst>
            </a:prstGeom>
            <a:noFill/>
            <a:ln w="12700" cap="flat" cmpd="sng" algn="ctr">
              <a:solidFill>
                <a:srgbClr val="E0121D"/>
              </a:solidFill>
              <a:prstDash val="solid"/>
              <a:miter lim="800000"/>
            </a:ln>
            <a:effectLst/>
          </p:spPr>
          <p:txBody>
            <a:bodyPr wrap="square" lIns="54000" rIns="54000" rtlCol="0" anchor="ctr">
              <a:spAutoFit/>
            </a:bodyPr>
            <a:lstStyle/>
            <a:p>
              <a:pPr marL="0" marR="0" lvl="0" indent="0" algn="ctr" defTabSz="9142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rgbClr val="E0121D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/>
                </a:rPr>
                <a:t>Canvas Services (non-functional)</a:t>
              </a:r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5022429" y="2809539"/>
              <a:ext cx="513473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Calibri"/>
                  <a:cs typeface="Calibri"/>
                </a:rPr>
                <a:t>STL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Calibri"/>
                  <a:cs typeface="Calibri"/>
                </a:rPr>
                <a:t> PCRF</a:t>
              </a:r>
              <a:endParaRPr kumimoji="0" lang="en-US" sz="11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endParaRPr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5526108" y="2827941"/>
              <a:ext cx="423689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Calibri"/>
                  <a:cs typeface="Calibri"/>
                </a:rPr>
                <a:t>STL </a:t>
              </a:r>
              <a:br>
                <a:rPr kumimoji="0" lang="en-US" sz="1100" b="1" i="0" u="none" strike="noStrike" kern="120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Calibri"/>
                  <a:cs typeface="Calibri"/>
                </a:rPr>
              </a:br>
              <a:r>
                <a:rPr kumimoji="0" lang="en-US" sz="1100" b="1" i="0" u="none" strike="noStrike" kern="120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Calibri"/>
                  <a:cs typeface="Calibri"/>
                </a:rPr>
                <a:t>PCF</a:t>
              </a:r>
              <a:endParaRPr kumimoji="0" lang="en-US" sz="11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endParaRP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7995244" y="4983649"/>
              <a:ext cx="614271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Calibri"/>
                </a:rPr>
                <a:t>Security 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Calibri"/>
                </a:rPr>
                <a:t>Controller</a:t>
              </a:r>
              <a:endPara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Calibri"/>
              </a:endParaRP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6255786" y="4946865"/>
              <a:ext cx="704039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Calibri"/>
                </a:rPr>
                <a:t>Component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Calibri"/>
                </a:rPr>
                <a:t>Controller</a:t>
              </a:r>
              <a:endPara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Calibri"/>
              </a:endParaRP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7399000" y="4952117"/>
              <a:ext cx="614271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Calibri"/>
                </a:rPr>
                <a:t>API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Calibri"/>
                </a:rPr>
                <a:t>Controller</a:t>
              </a:r>
              <a:endPara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Calibri"/>
              </a:endParaRP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6767154" y="4957375"/>
              <a:ext cx="795411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Calibri"/>
                </a:rPr>
                <a:t>Component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Calibri"/>
                </a:rPr>
                <a:t>CRD Webhook</a:t>
              </a:r>
              <a:endPara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Calibri"/>
              </a:endParaRPr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2671342" y="4253788"/>
              <a:ext cx="1713932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472C4"/>
                  </a:solidFill>
                  <a:effectLst/>
                  <a:uLnTx/>
                  <a:uFillTx/>
                  <a:latin typeface="Calibri"/>
                  <a:cs typeface="Calibri"/>
                </a:rPr>
                <a:t>STL Cloud Native Platform</a:t>
              </a:r>
              <a:endPara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Calibri"/>
                <a:cs typeface="Calibri"/>
              </a:endParaRPr>
            </a:p>
          </p:txBody>
        </p:sp>
      </p:grpSp>
      <p:sp>
        <p:nvSpPr>
          <p:cNvPr id="23" name="TextBox 22"/>
          <p:cNvSpPr txBox="1"/>
          <p:nvPr/>
        </p:nvSpPr>
        <p:spPr>
          <a:xfrm>
            <a:off x="6097658" y="2827940"/>
            <a:ext cx="404638" cy="4458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STL </a:t>
            </a:r>
            <a:br>
              <a:rPr kumimoji="0" lang="en-US" sz="11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</a:br>
            <a:r>
              <a:rPr kumimoji="0" lang="en-US" sz="11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SPR</a:t>
            </a:r>
            <a:endParaRPr kumimoji="0" lang="en-US" sz="11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/>
              <a:cs typeface="Calibri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6511554" y="2821860"/>
            <a:ext cx="46934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STL </a:t>
            </a:r>
            <a:br>
              <a:rPr kumimoji="0" lang="en-US" sz="11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</a:br>
            <a:r>
              <a:rPr kumimoji="0" lang="en-US" sz="11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UDR</a:t>
            </a:r>
            <a:endParaRPr kumimoji="0" lang="en-US" sz="11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/>
              <a:cs typeface="Calibri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6987106" y="2821859"/>
            <a:ext cx="44827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STL </a:t>
            </a:r>
            <a:br>
              <a:rPr kumimoji="0" lang="en-US" sz="11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</a:br>
            <a:r>
              <a:rPr kumimoji="0" lang="en-US" sz="11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CHF</a:t>
            </a:r>
            <a:endParaRPr kumimoji="0" lang="en-US" sz="11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/>
              <a:cs typeface="Calibri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4354446" y="3276891"/>
            <a:ext cx="92382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STL OCS</a:t>
            </a:r>
            <a:endParaRPr kumimoji="0" lang="en-US" sz="11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/>
              <a:cs typeface="Calibri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4404161" y="2808993"/>
            <a:ext cx="92382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STL </a:t>
            </a:r>
            <a:r>
              <a:rPr kumimoji="0" lang="en-US" sz="11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SM</a:t>
            </a:r>
            <a:endParaRPr kumimoji="0" lang="en-US" sz="11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468787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3754" y="1139441"/>
            <a:ext cx="3342583" cy="1747432"/>
          </a:xfrm>
          <a:prstGeom prst="rect">
            <a:avLst/>
          </a:prstGeom>
        </p:spPr>
      </p:pic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BBC09F0B-8910-43CD-A2FE-6E40E38F03A5}"/>
              </a:ext>
            </a:extLst>
          </p:cNvPr>
          <p:cNvSpPr/>
          <p:nvPr/>
        </p:nvSpPr>
        <p:spPr>
          <a:xfrm>
            <a:off x="4417835" y="1390261"/>
            <a:ext cx="7534679" cy="3671551"/>
          </a:xfrm>
          <a:prstGeom prst="roundRect">
            <a:avLst>
              <a:gd name="adj" fmla="val 3960"/>
            </a:avLst>
          </a:prstGeom>
          <a:noFill/>
          <a:ln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2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anvas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D52B60C-0A65-49F5-A887-75CFEE739D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DA </a:t>
            </a:r>
            <a:r>
              <a:rPr lang="en-US" dirty="0" smtClean="0"/>
              <a:t>Reference </a:t>
            </a:r>
            <a:r>
              <a:rPr lang="en-US" dirty="0"/>
              <a:t>I</a:t>
            </a:r>
            <a:r>
              <a:rPr lang="en-US" dirty="0" smtClean="0"/>
              <a:t>mplementation </a:t>
            </a:r>
            <a:r>
              <a:rPr lang="en-US" dirty="0"/>
              <a:t>in the Open Digital Lab</a:t>
            </a: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ACD84DBC-324C-4FF5-9DE6-F521E7BDD084}"/>
              </a:ext>
            </a:extLst>
          </p:cNvPr>
          <p:cNvSpPr/>
          <p:nvPr/>
        </p:nvSpPr>
        <p:spPr>
          <a:xfrm>
            <a:off x="2833896" y="2222090"/>
            <a:ext cx="1101013" cy="539771"/>
          </a:xfrm>
          <a:prstGeom prst="roundRect">
            <a:avLst/>
          </a:prstGeom>
          <a:noFill/>
          <a:ln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C276C32F-0A70-44FB-BA44-85E7AB60C59C}"/>
              </a:ext>
            </a:extLst>
          </p:cNvPr>
          <p:cNvSpPr/>
          <p:nvPr/>
        </p:nvSpPr>
        <p:spPr>
          <a:xfrm>
            <a:off x="4601291" y="1847461"/>
            <a:ext cx="3503686" cy="2135963"/>
          </a:xfrm>
          <a:prstGeom prst="roundRect">
            <a:avLst>
              <a:gd name="adj" fmla="val 4520"/>
            </a:avLst>
          </a:prstGeom>
          <a:noFill/>
          <a:ln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2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anvas-system</a:t>
            </a: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2585BF19-B6D5-41E7-B9D7-0B122695E6D8}"/>
              </a:ext>
            </a:extLst>
          </p:cNvPr>
          <p:cNvSpPr/>
          <p:nvPr/>
        </p:nvSpPr>
        <p:spPr>
          <a:xfrm>
            <a:off x="8185174" y="1847462"/>
            <a:ext cx="3525071" cy="1021099"/>
          </a:xfrm>
          <a:prstGeom prst="roundRect">
            <a:avLst>
              <a:gd name="adj" fmla="val 7261"/>
            </a:avLst>
          </a:prstGeom>
          <a:noFill/>
          <a:ln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2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rvice-mesh-system*</a:t>
            </a:r>
          </a:p>
        </p:txBody>
      </p:sp>
      <p:sp>
        <p:nvSpPr>
          <p:cNvPr id="24" name="Callout: Line 23">
            <a:extLst>
              <a:ext uri="{FF2B5EF4-FFF2-40B4-BE49-F238E27FC236}">
                <a16:creationId xmlns:a16="http://schemas.microsoft.com/office/drawing/2014/main" id="{D8F3FB96-91EA-4BC9-B2FC-7C0D70CD50C6}"/>
              </a:ext>
            </a:extLst>
          </p:cNvPr>
          <p:cNvSpPr/>
          <p:nvPr/>
        </p:nvSpPr>
        <p:spPr>
          <a:xfrm>
            <a:off x="1824304" y="3203787"/>
            <a:ext cx="1389921" cy="523220"/>
          </a:xfrm>
          <a:prstGeom prst="borderCallout1">
            <a:avLst>
              <a:gd name="adj1" fmla="val -387"/>
              <a:gd name="adj2" fmla="val 36717"/>
              <a:gd name="adj3" fmla="val -86785"/>
              <a:gd name="adj4" fmla="val 75791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54000" rIns="54000" rtlCol="0" anchor="ctr">
            <a:spAutoFit/>
          </a:bodyPr>
          <a:lstStyle/>
          <a:p>
            <a:pPr marL="0" marR="0" lvl="0" indent="0" algn="ctr" defTabSz="9142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E0121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anvas Services (non-functional)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06B546F6-8D1A-4118-9D00-0247BF154D31}"/>
              </a:ext>
            </a:extLst>
          </p:cNvPr>
          <p:cNvCxnSpPr>
            <a:cxnSpLocks/>
            <a:stCxn id="5" idx="0"/>
          </p:cNvCxnSpPr>
          <p:nvPr/>
        </p:nvCxnSpPr>
        <p:spPr>
          <a:xfrm flipV="1">
            <a:off x="3069772" y="1455578"/>
            <a:ext cx="1370286" cy="766512"/>
          </a:xfrm>
          <a:prstGeom prst="line">
            <a:avLst/>
          </a:prstGeom>
          <a:noFill/>
          <a:ln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BFB69DDE-B990-4746-85AD-423122BD4A35}"/>
              </a:ext>
            </a:extLst>
          </p:cNvPr>
          <p:cNvCxnSpPr>
            <a:cxnSpLocks/>
            <a:stCxn id="5" idx="2"/>
          </p:cNvCxnSpPr>
          <p:nvPr/>
        </p:nvCxnSpPr>
        <p:spPr>
          <a:xfrm>
            <a:off x="3069772" y="2761861"/>
            <a:ext cx="1348063" cy="2135963"/>
          </a:xfrm>
          <a:prstGeom prst="line">
            <a:avLst/>
          </a:prstGeom>
          <a:noFill/>
          <a:ln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35" name="Group 34">
            <a:extLst>
              <a:ext uri="{FF2B5EF4-FFF2-40B4-BE49-F238E27FC236}">
                <a16:creationId xmlns:a16="http://schemas.microsoft.com/office/drawing/2014/main" id="{AAA225F2-DEA9-46BD-9A00-A763F2828759}"/>
              </a:ext>
            </a:extLst>
          </p:cNvPr>
          <p:cNvGrpSpPr/>
          <p:nvPr/>
        </p:nvGrpSpPr>
        <p:grpSpPr>
          <a:xfrm>
            <a:off x="4745159" y="5334754"/>
            <a:ext cx="2238033" cy="584335"/>
            <a:chOff x="976192" y="5646745"/>
            <a:chExt cx="1812728" cy="584335"/>
          </a:xfrm>
        </p:grpSpPr>
        <p:sp>
          <p:nvSpPr>
            <p:cNvPr id="33" name="Rounded Rectangle 15">
              <a:extLst>
                <a:ext uri="{FF2B5EF4-FFF2-40B4-BE49-F238E27FC236}">
                  <a16:creationId xmlns:a16="http://schemas.microsoft.com/office/drawing/2014/main" id="{7DC6EA40-A739-4B56-86AC-D69C9CEDD9F2}"/>
                </a:ext>
              </a:extLst>
            </p:cNvPr>
            <p:cNvSpPr/>
            <p:nvPr/>
          </p:nvSpPr>
          <p:spPr>
            <a:xfrm>
              <a:off x="976192" y="5646745"/>
              <a:ext cx="1812728" cy="228296"/>
            </a:xfrm>
            <a:prstGeom prst="roundRect">
              <a:avLst/>
            </a:prstGeom>
            <a:ln/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spcFirstLastPara="0" vert="horz" wrap="square" lIns="8467" tIns="8467" rIns="8467" bIns="8467" numCol="1" spcCol="1270" rtlCol="0" anchor="ctr" anchorCtr="0">
              <a:noAutofit/>
            </a:bodyPr>
            <a:lstStyle/>
            <a:p>
              <a:pPr marL="0" marR="0" lvl="0" indent="0" algn="ctr" defTabSz="592652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333" b="0" i="0" u="none" strike="noStrike" kern="1200" cap="none" spc="0" normalizeH="0" baseline="0" noProof="0" dirty="0">
                  <a:ln>
                    <a:noFill/>
                  </a:ln>
                  <a:solidFill>
                    <a:srgbClr val="34342B"/>
                  </a:solidFill>
                  <a:effectLst/>
                  <a:uLnTx/>
                  <a:uFillTx/>
                  <a:latin typeface="Vodafone Rg" pitchFamily="34" charset="0"/>
                  <a:ea typeface="+mn-ea"/>
                  <a:cs typeface="+mn-cs"/>
                </a:rPr>
                <a:t>Choice of implementation</a:t>
              </a:r>
            </a:p>
          </p:txBody>
        </p:sp>
        <p:sp>
          <p:nvSpPr>
            <p:cNvPr id="34" name="Rounded Rectangle 15">
              <a:extLst>
                <a:ext uri="{FF2B5EF4-FFF2-40B4-BE49-F238E27FC236}">
                  <a16:creationId xmlns:a16="http://schemas.microsoft.com/office/drawing/2014/main" id="{C586A45F-CDE7-4DE0-86CD-716E967FE882}"/>
                </a:ext>
              </a:extLst>
            </p:cNvPr>
            <p:cNvSpPr/>
            <p:nvPr/>
          </p:nvSpPr>
          <p:spPr>
            <a:xfrm>
              <a:off x="976192" y="6002784"/>
              <a:ext cx="1812728" cy="228296"/>
            </a:xfrm>
            <a:prstGeom prst="roundRect">
              <a:avLst/>
            </a:prstGeom>
            <a:solidFill>
              <a:schemeClr val="accent2">
                <a:lumMod val="20000"/>
                <a:lumOff val="80000"/>
              </a:schemeClr>
            </a:solidFill>
            <a:ln/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spcFirstLastPara="0" vert="horz" wrap="square" lIns="8467" tIns="8467" rIns="8467" bIns="8467" numCol="1" spcCol="1270" rtlCol="0" anchor="ctr" anchorCtr="0">
              <a:noAutofit/>
            </a:bodyPr>
            <a:lstStyle/>
            <a:p>
              <a:pPr marL="0" marR="0" lvl="0" indent="0" algn="ctr" defTabSz="592652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333" b="0" i="0" u="none" strike="noStrike" kern="1200" cap="none" spc="0" normalizeH="0" baseline="0" noProof="0" dirty="0">
                  <a:ln>
                    <a:noFill/>
                  </a:ln>
                  <a:solidFill>
                    <a:srgbClr val="34342B"/>
                  </a:solidFill>
                  <a:effectLst/>
                  <a:uLnTx/>
                  <a:uFillTx/>
                  <a:latin typeface="Vodafone Rg" pitchFamily="34" charset="0"/>
                  <a:ea typeface="+mn-ea"/>
                  <a:cs typeface="+mn-cs"/>
                </a:rPr>
                <a:t>Standard Canvas service</a:t>
              </a:r>
            </a:p>
          </p:txBody>
        </p:sp>
      </p:grpSp>
      <p:sp>
        <p:nvSpPr>
          <p:cNvPr id="17" name="Rounded Rectangle 14">
            <a:extLst>
              <a:ext uri="{FF2B5EF4-FFF2-40B4-BE49-F238E27FC236}">
                <a16:creationId xmlns:a16="http://schemas.microsoft.com/office/drawing/2014/main" id="{D620FE99-2A58-4C03-891F-00D2546A55A0}"/>
              </a:ext>
            </a:extLst>
          </p:cNvPr>
          <p:cNvSpPr/>
          <p:nvPr/>
        </p:nvSpPr>
        <p:spPr>
          <a:xfrm>
            <a:off x="8359431" y="2233205"/>
            <a:ext cx="3194565" cy="228296"/>
          </a:xfrm>
          <a:prstGeom prst="round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spcFirstLastPara="0" vert="horz" wrap="square" lIns="72000" tIns="18000" rIns="72000" bIns="18000" numCol="1" spcCol="1270" rtlCol="0" anchor="ctr" anchorCtr="0">
            <a:noAutofit/>
          </a:bodyPr>
          <a:lstStyle/>
          <a:p>
            <a:pPr marL="0" marR="0" lvl="0" indent="0" algn="l" defTabSz="592652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33" b="0" i="0" u="none" strike="noStrike" kern="1200" cap="none" spc="0" normalizeH="0" baseline="0" noProof="0">
                <a:ln>
                  <a:noFill/>
                </a:ln>
                <a:solidFill>
                  <a:srgbClr val="34342B"/>
                </a:solidFill>
                <a:effectLst/>
                <a:uLnTx/>
                <a:uFillTx/>
                <a:latin typeface="Vodafone Rg" pitchFamily="34" charset="0"/>
                <a:ea typeface="+mn-ea"/>
                <a:cs typeface="+mn-cs"/>
              </a:rPr>
              <a:t>Service Mesh (eg Istio)</a:t>
            </a:r>
          </a:p>
        </p:txBody>
      </p:sp>
      <p:sp>
        <p:nvSpPr>
          <p:cNvPr id="18" name="Rounded Rectangle 15">
            <a:extLst>
              <a:ext uri="{FF2B5EF4-FFF2-40B4-BE49-F238E27FC236}">
                <a16:creationId xmlns:a16="http://schemas.microsoft.com/office/drawing/2014/main" id="{5B862392-7444-4A6C-88EB-3B3DC16F2F65}"/>
              </a:ext>
            </a:extLst>
          </p:cNvPr>
          <p:cNvSpPr/>
          <p:nvPr/>
        </p:nvSpPr>
        <p:spPr>
          <a:xfrm>
            <a:off x="4745159" y="4412921"/>
            <a:ext cx="3359818" cy="212848"/>
          </a:xfrm>
          <a:prstGeom prst="round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spcFirstLastPara="0" vert="horz" wrap="square" lIns="72000" tIns="18000" rIns="72000" bIns="18000" numCol="1" spcCol="1270" rtlCol="0" anchor="ctr" anchorCtr="0">
            <a:noAutofit/>
          </a:bodyPr>
          <a:lstStyle/>
          <a:p>
            <a:pPr marL="0" marR="0" lvl="0" indent="0" algn="l" defTabSz="592652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33" b="0" i="0" u="none" strike="noStrike" kern="1200" cap="none" spc="0" normalizeH="0" baseline="0" noProof="0" dirty="0">
                <a:ln>
                  <a:noFill/>
                </a:ln>
                <a:solidFill>
                  <a:srgbClr val="34342B"/>
                </a:solidFill>
                <a:effectLst/>
                <a:uLnTx/>
                <a:uFillTx/>
                <a:latin typeface="Vodafone Rg" pitchFamily="34" charset="0"/>
                <a:ea typeface="+mn-ea"/>
                <a:cs typeface="+mn-cs"/>
              </a:rPr>
              <a:t>API Gateway (</a:t>
            </a:r>
            <a:r>
              <a:rPr kumimoji="0" lang="en-GB" sz="1333" b="0" i="0" u="none" strike="noStrike" kern="1200" cap="none" spc="0" normalizeH="0" baseline="0" noProof="0" dirty="0" err="1">
                <a:ln>
                  <a:noFill/>
                </a:ln>
                <a:solidFill>
                  <a:srgbClr val="34342B"/>
                </a:solidFill>
                <a:effectLst/>
                <a:uLnTx/>
                <a:uFillTx/>
                <a:latin typeface="Vodafone Rg" pitchFamily="34" charset="0"/>
                <a:ea typeface="+mn-ea"/>
                <a:cs typeface="+mn-cs"/>
              </a:rPr>
              <a:t>eg</a:t>
            </a:r>
            <a:r>
              <a:rPr kumimoji="0" lang="en-GB" sz="1333" b="0" i="0" u="none" strike="noStrike" kern="1200" cap="none" spc="0" normalizeH="0" baseline="0" noProof="0" dirty="0">
                <a:ln>
                  <a:noFill/>
                </a:ln>
                <a:solidFill>
                  <a:srgbClr val="34342B"/>
                </a:solidFill>
                <a:effectLst/>
                <a:uLnTx/>
                <a:uFillTx/>
                <a:latin typeface="Vodafone Rg" pitchFamily="34" charset="0"/>
                <a:ea typeface="+mn-ea"/>
                <a:cs typeface="+mn-cs"/>
              </a:rPr>
              <a:t> Whale Cloud, </a:t>
            </a:r>
            <a:r>
              <a:rPr kumimoji="0" lang="en-GB" sz="1333" b="0" i="0" u="none" strike="noStrike" kern="1200" cap="none" spc="0" normalizeH="0" baseline="0" noProof="0" dirty="0" err="1">
                <a:ln>
                  <a:noFill/>
                </a:ln>
                <a:solidFill>
                  <a:srgbClr val="34342B"/>
                </a:solidFill>
                <a:effectLst/>
                <a:uLnTx/>
                <a:uFillTx/>
                <a:latin typeface="Vodafone Rg" pitchFamily="34" charset="0"/>
                <a:ea typeface="+mn-ea"/>
                <a:cs typeface="+mn-cs"/>
              </a:rPr>
              <a:t>Apigate</a:t>
            </a:r>
            <a:r>
              <a:rPr kumimoji="0" lang="en-GB" sz="1333" b="0" i="0" u="none" strike="noStrike" kern="1200" cap="none" spc="0" normalizeH="0" baseline="0" noProof="0" dirty="0">
                <a:ln>
                  <a:noFill/>
                </a:ln>
                <a:solidFill>
                  <a:srgbClr val="34342B"/>
                </a:solidFill>
                <a:effectLst/>
                <a:uLnTx/>
                <a:uFillTx/>
                <a:latin typeface="Vodafone Rg" pitchFamily="34" charset="0"/>
                <a:ea typeface="+mn-ea"/>
                <a:cs typeface="+mn-cs"/>
              </a:rPr>
              <a:t>…)</a:t>
            </a:r>
          </a:p>
        </p:txBody>
      </p:sp>
      <p:sp>
        <p:nvSpPr>
          <p:cNvPr id="19" name="Rounded Rectangle 16">
            <a:extLst>
              <a:ext uri="{FF2B5EF4-FFF2-40B4-BE49-F238E27FC236}">
                <a16:creationId xmlns:a16="http://schemas.microsoft.com/office/drawing/2014/main" id="{896B21DE-6D30-4E32-BFD9-D03AA4E297BC}"/>
              </a:ext>
            </a:extLst>
          </p:cNvPr>
          <p:cNvSpPr/>
          <p:nvPr/>
        </p:nvSpPr>
        <p:spPr>
          <a:xfrm>
            <a:off x="8359431" y="2519353"/>
            <a:ext cx="3194565" cy="228296"/>
          </a:xfrm>
          <a:prstGeom prst="round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spcFirstLastPara="0" vert="horz" wrap="square" lIns="72000" tIns="18000" rIns="72000" bIns="18000" numCol="1" spcCol="1270" rtlCol="0" anchor="ctr" anchorCtr="0">
            <a:noAutofit/>
          </a:bodyPr>
          <a:lstStyle/>
          <a:p>
            <a:pPr marL="0" marR="0" lvl="0" indent="0" algn="l" defTabSz="592652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33" b="0" i="0" u="none" strike="noStrike" kern="1200" cap="none" spc="0" normalizeH="0" baseline="0" noProof="0">
                <a:ln>
                  <a:noFill/>
                </a:ln>
                <a:solidFill>
                  <a:srgbClr val="34342B"/>
                </a:solidFill>
                <a:effectLst/>
                <a:uLnTx/>
                <a:uFillTx/>
                <a:latin typeface="Vodafone Rg" pitchFamily="34" charset="0"/>
                <a:ea typeface="+mn-ea"/>
                <a:cs typeface="+mn-cs"/>
              </a:rPr>
              <a:t>Observability (eg </a:t>
            </a:r>
            <a:r>
              <a:rPr kumimoji="0" lang="en-GB" sz="1333" b="0" i="0" u="none" strike="noStrike" kern="1200" cap="none" spc="0" normalizeH="0" baseline="0" noProof="0" err="1">
                <a:ln>
                  <a:noFill/>
                </a:ln>
                <a:solidFill>
                  <a:srgbClr val="34342B"/>
                </a:solidFill>
                <a:effectLst/>
                <a:uLnTx/>
                <a:uFillTx/>
                <a:latin typeface="Vodafone Rg" pitchFamily="34" charset="0"/>
                <a:ea typeface="+mn-ea"/>
                <a:cs typeface="+mn-cs"/>
              </a:rPr>
              <a:t>Kiali</a:t>
            </a:r>
            <a:r>
              <a:rPr kumimoji="0" lang="en-GB" sz="1333" b="0" i="0" u="none" strike="noStrike" kern="1200" cap="none" spc="0" normalizeH="0" baseline="0" noProof="0">
                <a:ln>
                  <a:noFill/>
                </a:ln>
                <a:solidFill>
                  <a:srgbClr val="34342B"/>
                </a:solidFill>
                <a:effectLst/>
                <a:uLnTx/>
                <a:uFillTx/>
                <a:latin typeface="Vodafone Rg" pitchFamily="34" charset="0"/>
                <a:ea typeface="+mn-ea"/>
                <a:cs typeface="+mn-cs"/>
              </a:rPr>
              <a:t>)</a:t>
            </a:r>
          </a:p>
        </p:txBody>
      </p:sp>
      <p:sp>
        <p:nvSpPr>
          <p:cNvPr id="22" name="Rounded Rectangle 18">
            <a:extLst>
              <a:ext uri="{FF2B5EF4-FFF2-40B4-BE49-F238E27FC236}">
                <a16:creationId xmlns:a16="http://schemas.microsoft.com/office/drawing/2014/main" id="{D2BB6BF4-68C9-49DA-BA1B-0ACC3CE63CD4}"/>
              </a:ext>
            </a:extLst>
          </p:cNvPr>
          <p:cNvSpPr/>
          <p:nvPr/>
        </p:nvSpPr>
        <p:spPr>
          <a:xfrm>
            <a:off x="4740714" y="2879693"/>
            <a:ext cx="3194565" cy="228296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spcFirstLastPara="0" vert="horz" wrap="square" lIns="72000" tIns="18000" rIns="72000" bIns="18000" numCol="1" spcCol="1270" rtlCol="0" anchor="ctr" anchorCtr="0">
            <a:noAutofit/>
          </a:bodyPr>
          <a:lstStyle/>
          <a:p>
            <a:pPr marL="0" marR="0" lvl="0" indent="0" algn="l" defTabSz="592652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33" b="0" i="0" u="none" strike="noStrike" kern="1200" cap="none" spc="0" normalizeH="0" baseline="0" noProof="0">
                <a:ln>
                  <a:noFill/>
                </a:ln>
                <a:solidFill>
                  <a:srgbClr val="34342B"/>
                </a:solidFill>
                <a:effectLst/>
                <a:uLnTx/>
                <a:uFillTx/>
                <a:latin typeface="Vodafone Rg" pitchFamily="34" charset="0"/>
                <a:ea typeface="+mn-ea"/>
                <a:cs typeface="+mn-cs"/>
              </a:rPr>
              <a:t>API Controller</a:t>
            </a:r>
            <a:endParaRPr kumimoji="0" lang="en-US" sz="1333" b="0" i="0" u="none" strike="noStrike" kern="1200" cap="none" spc="0" normalizeH="0" baseline="0" noProof="0">
              <a:ln>
                <a:noFill/>
              </a:ln>
              <a:solidFill>
                <a:srgbClr val="34342B"/>
              </a:solidFill>
              <a:effectLst/>
              <a:uLnTx/>
              <a:uFillTx/>
              <a:latin typeface="Vodafone Rg" pitchFamily="34" charset="0"/>
              <a:ea typeface="+mn-ea"/>
              <a:cs typeface="+mn-cs"/>
            </a:endParaRPr>
          </a:p>
        </p:txBody>
      </p:sp>
      <p:sp>
        <p:nvSpPr>
          <p:cNvPr id="36" name="Rounded Rectangle 12">
            <a:extLst>
              <a:ext uri="{FF2B5EF4-FFF2-40B4-BE49-F238E27FC236}">
                <a16:creationId xmlns:a16="http://schemas.microsoft.com/office/drawing/2014/main" id="{C1BAD750-85AE-4290-988D-A3783905BC1B}"/>
              </a:ext>
            </a:extLst>
          </p:cNvPr>
          <p:cNvSpPr/>
          <p:nvPr/>
        </p:nvSpPr>
        <p:spPr>
          <a:xfrm>
            <a:off x="4740714" y="2296265"/>
            <a:ext cx="3194565" cy="228296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spcFirstLastPara="0" vert="horz" wrap="square" lIns="72000" tIns="18000" rIns="72000" bIns="18000" numCol="1" spcCol="1270" rtlCol="0" anchor="ctr" anchorCtr="0">
            <a:noAutofit/>
          </a:bodyPr>
          <a:lstStyle/>
          <a:p>
            <a:pPr marL="0" marR="0" lvl="0" indent="0" algn="l" defTabSz="592652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33" b="0" i="0" u="none" strike="noStrike" kern="1200" cap="none" spc="0" normalizeH="0" baseline="0" noProof="0">
                <a:ln>
                  <a:noFill/>
                </a:ln>
                <a:solidFill>
                  <a:srgbClr val="34342B"/>
                </a:solidFill>
                <a:effectLst/>
                <a:uLnTx/>
                <a:uFillTx/>
                <a:latin typeface="Vodafone Rg" pitchFamily="34" charset="0"/>
                <a:ea typeface="+mn-ea"/>
                <a:cs typeface="+mn-cs"/>
              </a:rPr>
              <a:t>Component Controller</a:t>
            </a:r>
          </a:p>
        </p:txBody>
      </p:sp>
      <p:sp>
        <p:nvSpPr>
          <p:cNvPr id="41" name="Rounded Rectangle 16">
            <a:extLst>
              <a:ext uri="{FF2B5EF4-FFF2-40B4-BE49-F238E27FC236}">
                <a16:creationId xmlns:a16="http://schemas.microsoft.com/office/drawing/2014/main" id="{C948DAA5-AF5B-40D9-9F1D-A8B99B846AFC}"/>
              </a:ext>
            </a:extLst>
          </p:cNvPr>
          <p:cNvSpPr/>
          <p:nvPr/>
        </p:nvSpPr>
        <p:spPr>
          <a:xfrm>
            <a:off x="8350426" y="3599710"/>
            <a:ext cx="3194565" cy="228296"/>
          </a:xfrm>
          <a:prstGeom prst="round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spcFirstLastPara="0" vert="horz" wrap="square" lIns="72000" tIns="18000" rIns="72000" bIns="18000" numCol="1" spcCol="1270" rtlCol="0" anchor="ctr" anchorCtr="0">
            <a:noAutofit/>
          </a:bodyPr>
          <a:lstStyle/>
          <a:p>
            <a:pPr marL="0" marR="0" lvl="0" indent="0" algn="l" defTabSz="592652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33" b="0" i="0" u="none" strike="noStrike" kern="1200" cap="none" spc="0" normalizeH="0" baseline="0" noProof="0">
                <a:ln>
                  <a:noFill/>
                </a:ln>
                <a:solidFill>
                  <a:srgbClr val="34342B"/>
                </a:solidFill>
                <a:effectLst/>
                <a:uLnTx/>
                <a:uFillTx/>
                <a:latin typeface="Vodafone Rg" pitchFamily="34" charset="0"/>
                <a:ea typeface="+mn-ea"/>
                <a:cs typeface="+mn-cs"/>
              </a:rPr>
              <a:t>Visualization (eg Grafana)</a:t>
            </a:r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AE74F2E8-1CE4-4B59-92F4-BDA618ECA87E}"/>
              </a:ext>
            </a:extLst>
          </p:cNvPr>
          <p:cNvSpPr/>
          <p:nvPr/>
        </p:nvSpPr>
        <p:spPr>
          <a:xfrm>
            <a:off x="8185174" y="2978507"/>
            <a:ext cx="3525071" cy="1004917"/>
          </a:xfrm>
          <a:prstGeom prst="roundRect">
            <a:avLst>
              <a:gd name="adj" fmla="val 7305"/>
            </a:avLst>
          </a:prstGeom>
          <a:noFill/>
          <a:ln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2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nitoring-system*</a:t>
            </a:r>
          </a:p>
        </p:txBody>
      </p:sp>
      <p:sp>
        <p:nvSpPr>
          <p:cNvPr id="30" name="Rounded Rectangle 16">
            <a:extLst>
              <a:ext uri="{FF2B5EF4-FFF2-40B4-BE49-F238E27FC236}">
                <a16:creationId xmlns:a16="http://schemas.microsoft.com/office/drawing/2014/main" id="{C9513C7E-DBEA-47E1-9DE5-D103FD66F563}"/>
              </a:ext>
            </a:extLst>
          </p:cNvPr>
          <p:cNvSpPr/>
          <p:nvPr/>
        </p:nvSpPr>
        <p:spPr>
          <a:xfrm>
            <a:off x="8350425" y="3299143"/>
            <a:ext cx="3194565" cy="228296"/>
          </a:xfrm>
          <a:prstGeom prst="round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spcFirstLastPara="0" vert="horz" wrap="square" lIns="72000" tIns="18000" rIns="72000" bIns="18000" numCol="1" spcCol="1270" rtlCol="0" anchor="ctr" anchorCtr="0">
            <a:noAutofit/>
          </a:bodyPr>
          <a:lstStyle/>
          <a:p>
            <a:pPr marL="0" marR="0" lvl="0" indent="0" algn="l" defTabSz="592652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33" b="0" i="0" u="none" strike="noStrike" kern="1200" cap="none" spc="0" normalizeH="0" baseline="0" noProof="0" dirty="0">
                <a:ln>
                  <a:noFill/>
                </a:ln>
                <a:solidFill>
                  <a:srgbClr val="34342B"/>
                </a:solidFill>
                <a:effectLst/>
                <a:uLnTx/>
                <a:uFillTx/>
                <a:latin typeface="Vodafone Rg" pitchFamily="34" charset="0"/>
                <a:ea typeface="+mn-ea"/>
                <a:cs typeface="+mn-cs"/>
              </a:rPr>
              <a:t>Monitoring (</a:t>
            </a:r>
            <a:r>
              <a:rPr kumimoji="0" lang="en-GB" sz="1333" b="0" i="0" u="none" strike="noStrike" kern="1200" cap="none" spc="0" normalizeH="0" baseline="0" noProof="0" dirty="0" err="1">
                <a:ln>
                  <a:noFill/>
                </a:ln>
                <a:solidFill>
                  <a:srgbClr val="34342B"/>
                </a:solidFill>
                <a:effectLst/>
                <a:uLnTx/>
                <a:uFillTx/>
                <a:latin typeface="Vodafone Rg" pitchFamily="34" charset="0"/>
                <a:ea typeface="+mn-ea"/>
                <a:cs typeface="+mn-cs"/>
              </a:rPr>
              <a:t>eg</a:t>
            </a:r>
            <a:r>
              <a:rPr kumimoji="0" lang="en-GB" sz="1333" b="0" i="0" u="none" strike="noStrike" kern="1200" cap="none" spc="0" normalizeH="0" baseline="0" noProof="0" dirty="0">
                <a:ln>
                  <a:noFill/>
                </a:ln>
                <a:solidFill>
                  <a:srgbClr val="34342B"/>
                </a:solidFill>
                <a:effectLst/>
                <a:uLnTx/>
                <a:uFillTx/>
                <a:latin typeface="Vodafone Rg" pitchFamily="34" charset="0"/>
                <a:ea typeface="+mn-ea"/>
                <a:cs typeface="+mn-cs"/>
              </a:rPr>
              <a:t> Prometheus)</a:t>
            </a:r>
          </a:p>
        </p:txBody>
      </p:sp>
      <p:sp>
        <p:nvSpPr>
          <p:cNvPr id="32" name="Rectangle: Rounded Corners 31">
            <a:extLst>
              <a:ext uri="{FF2B5EF4-FFF2-40B4-BE49-F238E27FC236}">
                <a16:creationId xmlns:a16="http://schemas.microsoft.com/office/drawing/2014/main" id="{659D2A91-4352-4D8C-8DB9-748D5447BE61}"/>
              </a:ext>
            </a:extLst>
          </p:cNvPr>
          <p:cNvSpPr/>
          <p:nvPr/>
        </p:nvSpPr>
        <p:spPr>
          <a:xfrm>
            <a:off x="8185174" y="4076838"/>
            <a:ext cx="3525071" cy="704892"/>
          </a:xfrm>
          <a:prstGeom prst="roundRect">
            <a:avLst>
              <a:gd name="adj" fmla="val 11138"/>
            </a:avLst>
          </a:prstGeom>
          <a:noFill/>
          <a:ln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2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err="1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am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-system*</a:t>
            </a:r>
          </a:p>
        </p:txBody>
      </p:sp>
      <p:sp>
        <p:nvSpPr>
          <p:cNvPr id="37" name="Rounded Rectangle 16">
            <a:extLst>
              <a:ext uri="{FF2B5EF4-FFF2-40B4-BE49-F238E27FC236}">
                <a16:creationId xmlns:a16="http://schemas.microsoft.com/office/drawing/2014/main" id="{CA24DF6B-264D-46D8-A0A3-5A4D89E60C71}"/>
              </a:ext>
            </a:extLst>
          </p:cNvPr>
          <p:cNvSpPr/>
          <p:nvPr/>
        </p:nvSpPr>
        <p:spPr>
          <a:xfrm>
            <a:off x="8366194" y="4397473"/>
            <a:ext cx="3194565" cy="228296"/>
          </a:xfrm>
          <a:prstGeom prst="round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spcFirstLastPara="0" vert="horz" wrap="square" lIns="72000" tIns="18000" rIns="72000" bIns="18000" numCol="1" spcCol="1270" rtlCol="0" anchor="ctr" anchorCtr="0">
            <a:noAutofit/>
          </a:bodyPr>
          <a:lstStyle/>
          <a:p>
            <a:pPr marL="0" marR="0" lvl="0" indent="0" algn="l" defTabSz="592652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33" b="0" i="0" u="none" strike="noStrike" kern="1200" cap="none" spc="0" normalizeH="0" baseline="0" noProof="0" dirty="0">
                <a:ln>
                  <a:noFill/>
                </a:ln>
                <a:solidFill>
                  <a:srgbClr val="34342B"/>
                </a:solidFill>
                <a:effectLst/>
                <a:uLnTx/>
                <a:uFillTx/>
                <a:latin typeface="Vodafone Rg" pitchFamily="34" charset="0"/>
                <a:ea typeface="+mn-ea"/>
                <a:cs typeface="+mn-cs"/>
              </a:rPr>
              <a:t>Identity &amp; Access (</a:t>
            </a:r>
            <a:r>
              <a:rPr kumimoji="0" lang="en-GB" sz="1333" b="0" i="0" u="none" strike="noStrike" kern="1200" cap="none" spc="0" normalizeH="0" baseline="0" noProof="0" dirty="0" err="1">
                <a:ln>
                  <a:noFill/>
                </a:ln>
                <a:solidFill>
                  <a:srgbClr val="34342B"/>
                </a:solidFill>
                <a:effectLst/>
                <a:uLnTx/>
                <a:uFillTx/>
                <a:latin typeface="Vodafone Rg" pitchFamily="34" charset="0"/>
                <a:ea typeface="+mn-ea"/>
                <a:cs typeface="+mn-cs"/>
              </a:rPr>
              <a:t>eg</a:t>
            </a:r>
            <a:r>
              <a:rPr kumimoji="0" lang="en-GB" sz="1333" b="0" i="0" u="none" strike="noStrike" kern="1200" cap="none" spc="0" normalizeH="0" baseline="0" noProof="0" dirty="0">
                <a:ln>
                  <a:noFill/>
                </a:ln>
                <a:solidFill>
                  <a:srgbClr val="34342B"/>
                </a:solidFill>
                <a:effectLst/>
                <a:uLnTx/>
                <a:uFillTx/>
                <a:latin typeface="Vodafone Rg" pitchFamily="34" charset="0"/>
                <a:ea typeface="+mn-ea"/>
                <a:cs typeface="+mn-cs"/>
              </a:rPr>
              <a:t> </a:t>
            </a:r>
            <a:r>
              <a:rPr kumimoji="0" lang="en-GB" sz="1333" b="0" i="0" u="none" strike="noStrike" kern="1200" cap="none" spc="0" normalizeH="0" baseline="0" noProof="0" dirty="0" err="1">
                <a:ln>
                  <a:noFill/>
                </a:ln>
                <a:solidFill>
                  <a:srgbClr val="34342B"/>
                </a:solidFill>
                <a:effectLst/>
                <a:uLnTx/>
                <a:uFillTx/>
                <a:latin typeface="Vodafone Rg" pitchFamily="34" charset="0"/>
                <a:ea typeface="+mn-ea"/>
                <a:cs typeface="+mn-cs"/>
              </a:rPr>
              <a:t>Keycloak</a:t>
            </a:r>
            <a:r>
              <a:rPr kumimoji="0" lang="en-GB" sz="1333" b="0" i="0" u="none" strike="noStrike" kern="1200" cap="none" spc="0" normalizeH="0" baseline="0" noProof="0" dirty="0">
                <a:ln>
                  <a:noFill/>
                </a:ln>
                <a:solidFill>
                  <a:srgbClr val="34342B"/>
                </a:solidFill>
                <a:effectLst/>
                <a:uLnTx/>
                <a:uFillTx/>
                <a:latin typeface="Vodafone Rg" pitchFamily="34" charset="0"/>
                <a:ea typeface="+mn-ea"/>
                <a:cs typeface="+mn-cs"/>
              </a:rPr>
              <a:t>)</a:t>
            </a:r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39130DE4-347C-4925-B1CD-BD061D78DEE8}"/>
              </a:ext>
            </a:extLst>
          </p:cNvPr>
          <p:cNvSpPr/>
          <p:nvPr/>
        </p:nvSpPr>
        <p:spPr>
          <a:xfrm>
            <a:off x="4601292" y="4077447"/>
            <a:ext cx="3503686" cy="704892"/>
          </a:xfrm>
          <a:prstGeom prst="roundRect">
            <a:avLst>
              <a:gd name="adj" fmla="val 12462"/>
            </a:avLst>
          </a:prstGeom>
          <a:noFill/>
          <a:ln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2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err="1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pi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-gateway-system*</a:t>
            </a:r>
          </a:p>
        </p:txBody>
      </p:sp>
      <p:sp>
        <p:nvSpPr>
          <p:cNvPr id="39" name="Rounded Rectangle 18">
            <a:extLst>
              <a:ext uri="{FF2B5EF4-FFF2-40B4-BE49-F238E27FC236}">
                <a16:creationId xmlns:a16="http://schemas.microsoft.com/office/drawing/2014/main" id="{288E9549-E4F3-4055-9958-C803E26AA5A6}"/>
              </a:ext>
            </a:extLst>
          </p:cNvPr>
          <p:cNvSpPr/>
          <p:nvPr/>
        </p:nvSpPr>
        <p:spPr>
          <a:xfrm>
            <a:off x="4740714" y="2587979"/>
            <a:ext cx="3194565" cy="228296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spcFirstLastPara="0" vert="horz" wrap="square" lIns="72000" tIns="18000" rIns="72000" bIns="18000" numCol="1" spcCol="1270" rtlCol="0" anchor="ctr" anchorCtr="0">
            <a:noAutofit/>
          </a:bodyPr>
          <a:lstStyle/>
          <a:p>
            <a:pPr marL="0" marR="0" lvl="0" indent="0" algn="l" defTabSz="592652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33" b="0" i="0" u="none" strike="noStrike" kern="1200" cap="none" spc="0" normalizeH="0" baseline="0" noProof="0">
                <a:ln>
                  <a:noFill/>
                </a:ln>
                <a:solidFill>
                  <a:srgbClr val="34342B"/>
                </a:solidFill>
                <a:effectLst/>
                <a:uLnTx/>
                <a:uFillTx/>
                <a:latin typeface="Vodafone Rg" pitchFamily="34" charset="0"/>
                <a:ea typeface="+mn-ea"/>
                <a:cs typeface="+mn-cs"/>
              </a:rPr>
              <a:t>Security Controller</a:t>
            </a:r>
            <a:endParaRPr kumimoji="0" lang="en-US" sz="1333" b="0" i="0" u="none" strike="noStrike" kern="1200" cap="none" spc="0" normalizeH="0" baseline="0" noProof="0">
              <a:ln>
                <a:noFill/>
              </a:ln>
              <a:solidFill>
                <a:srgbClr val="34342B"/>
              </a:solidFill>
              <a:effectLst/>
              <a:uLnTx/>
              <a:uFillTx/>
              <a:latin typeface="Vodafone Rg" pitchFamily="34" charset="0"/>
              <a:ea typeface="+mn-ea"/>
              <a:cs typeface="+mn-cs"/>
            </a:endParaRPr>
          </a:p>
        </p:txBody>
      </p:sp>
      <p:sp>
        <p:nvSpPr>
          <p:cNvPr id="40" name="Rounded Rectangle 18">
            <a:extLst>
              <a:ext uri="{FF2B5EF4-FFF2-40B4-BE49-F238E27FC236}">
                <a16:creationId xmlns:a16="http://schemas.microsoft.com/office/drawing/2014/main" id="{DC778AF0-1437-4373-BB66-B1067A335513}"/>
              </a:ext>
            </a:extLst>
          </p:cNvPr>
          <p:cNvSpPr/>
          <p:nvPr/>
        </p:nvSpPr>
        <p:spPr>
          <a:xfrm>
            <a:off x="4740714" y="3171407"/>
            <a:ext cx="3194565" cy="228296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spcFirstLastPara="0" vert="horz" wrap="square" lIns="72000" tIns="18000" rIns="72000" bIns="18000" numCol="1" spcCol="1270" rtlCol="0" anchor="ctr" anchorCtr="0">
            <a:noAutofit/>
          </a:bodyPr>
          <a:lstStyle/>
          <a:p>
            <a:pPr marL="0" marR="0" lvl="0" indent="0" algn="l" defTabSz="592652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33" b="0" i="0" u="none" strike="noStrike" kern="1200" cap="none" spc="0" normalizeH="0" baseline="0" noProof="0">
                <a:ln>
                  <a:noFill/>
                </a:ln>
                <a:solidFill>
                  <a:srgbClr val="34342B"/>
                </a:solidFill>
                <a:effectLst/>
                <a:uLnTx/>
                <a:uFillTx/>
                <a:latin typeface="Vodafone Rg" pitchFamily="34" charset="0"/>
                <a:ea typeface="+mn-ea"/>
                <a:cs typeface="+mn-cs"/>
              </a:rPr>
              <a:t>Component CRD Webhook</a:t>
            </a:r>
            <a:endParaRPr kumimoji="0" lang="en-US" sz="1333" b="0" i="0" u="none" strike="noStrike" kern="1200" cap="none" spc="0" normalizeH="0" baseline="0" noProof="0">
              <a:ln>
                <a:noFill/>
              </a:ln>
              <a:solidFill>
                <a:srgbClr val="34342B"/>
              </a:solidFill>
              <a:effectLst/>
              <a:uLnTx/>
              <a:uFillTx/>
              <a:latin typeface="Vodafone Rg" pitchFamily="34" charset="0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54DFF9A-9BF3-46A3-A021-040F6BEA44D5}"/>
              </a:ext>
            </a:extLst>
          </p:cNvPr>
          <p:cNvSpPr txBox="1"/>
          <p:nvPr/>
        </p:nvSpPr>
        <p:spPr>
          <a:xfrm>
            <a:off x="170279" y="6206588"/>
            <a:ext cx="385874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2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mespace name may very depending on implementation</a:t>
            </a:r>
          </a:p>
        </p:txBody>
      </p:sp>
    </p:spTree>
    <p:extLst>
      <p:ext uri="{BB962C8B-B14F-4D97-AF65-F5344CB8AC3E}">
        <p14:creationId xmlns:p14="http://schemas.microsoft.com/office/powerpoint/2010/main" val="19209074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08558" y="882677"/>
            <a:ext cx="11535947" cy="5449454"/>
          </a:xfrm>
        </p:spPr>
        <p:txBody>
          <a:bodyPr/>
          <a:lstStyle/>
          <a:p>
            <a:r>
              <a:rPr lang="en-GB" dirty="0" smtClean="0"/>
              <a:t>TMF and 3GPP Interworking </a:t>
            </a:r>
            <a:endParaRPr lang="en-IN" dirty="0"/>
          </a:p>
        </p:txBody>
      </p:sp>
      <p:sp>
        <p:nvSpPr>
          <p:cNvPr id="5" name="Rectangle 4"/>
          <p:cNvSpPr/>
          <p:nvPr/>
        </p:nvSpPr>
        <p:spPr>
          <a:xfrm>
            <a:off x="8553449" y="2937164"/>
            <a:ext cx="928255" cy="3423851"/>
          </a:xfrm>
          <a:prstGeom prst="rect">
            <a:avLst/>
          </a:prstGeom>
          <a:solidFill>
            <a:srgbClr val="FFFFCC"/>
          </a:solidFill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989898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L</a:t>
            </a:r>
          </a:p>
          <a:p>
            <a:pPr marL="0" marR="0" lvl="0" indent="0" algn="ctr" defTabSz="9142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989898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PCC</a:t>
            </a:r>
          </a:p>
          <a:p>
            <a:pPr marL="0" marR="0" lvl="0" indent="0" algn="ctr" defTabSz="9142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989898">
                  <a:lumMod val="60000"/>
                  <a:lumOff val="4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2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989898">
                  <a:lumMod val="60000"/>
                  <a:lumOff val="4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2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smtClean="0">
              <a:ln>
                <a:noFill/>
              </a:ln>
              <a:solidFill>
                <a:srgbClr val="989898">
                  <a:lumMod val="60000"/>
                  <a:lumOff val="4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2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989898">
                  <a:lumMod val="60000"/>
                  <a:lumOff val="4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2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smtClean="0">
              <a:ln>
                <a:noFill/>
              </a:ln>
              <a:solidFill>
                <a:srgbClr val="989898">
                  <a:lumMod val="60000"/>
                  <a:lumOff val="4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2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989898">
                  <a:lumMod val="60000"/>
                  <a:lumOff val="4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2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smtClean="0">
              <a:ln>
                <a:noFill/>
              </a:ln>
              <a:solidFill>
                <a:srgbClr val="989898">
                  <a:lumMod val="60000"/>
                  <a:lumOff val="4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2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989898">
                  <a:lumMod val="60000"/>
                  <a:lumOff val="4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2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smtClean="0">
              <a:ln>
                <a:noFill/>
              </a:ln>
              <a:solidFill>
                <a:srgbClr val="989898">
                  <a:lumMod val="60000"/>
                  <a:lumOff val="4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2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989898">
                  <a:lumMod val="60000"/>
                  <a:lumOff val="4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2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989898">
                  <a:lumMod val="60000"/>
                  <a:lumOff val="4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1108363" y="4114502"/>
            <a:ext cx="2881746" cy="674254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</a:t>
            </a:r>
            <a:r>
              <a:rPr kumimoji="0" lang="en-GB" sz="1800" b="0" i="0" u="none" strike="noStrike" kern="1200" cap="none" spc="0" normalizeH="0" baseline="3000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d</a:t>
            </a:r>
            <a:r>
              <a:rPr kumimoji="0" lang="en-GB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arty</a:t>
            </a:r>
          </a:p>
          <a:p>
            <a:pPr marL="0" marR="0" lvl="0" indent="0" algn="ctr" defTabSz="9142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RM/Portal</a:t>
            </a: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8" name="Straight Arrow Connector 7"/>
          <p:cNvCxnSpPr/>
          <p:nvPr/>
        </p:nvCxnSpPr>
        <p:spPr>
          <a:xfrm>
            <a:off x="3990108" y="3536190"/>
            <a:ext cx="4553528" cy="127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/>
        </p:nvSpPr>
        <p:spPr>
          <a:xfrm>
            <a:off x="4160981" y="3098881"/>
            <a:ext cx="4521201" cy="4385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2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ST Top-up Balance</a:t>
            </a:r>
            <a:endParaRPr kumimoji="0" lang="en-IN" sz="1200" b="0" i="0" u="none" strike="noStrike" kern="1200" cap="none" spc="0" normalizeH="0" baseline="0" noProof="0" dirty="0" smtClean="0">
              <a:ln>
                <a:noFill/>
              </a:ln>
              <a:solidFill>
                <a:srgbClr val="E7E6E6">
                  <a:lumMod val="7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2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"/</a:t>
            </a:r>
            <a:r>
              <a:rPr kumimoji="0" lang="en-IN" sz="10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E7E6E6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alancemanagement</a:t>
            </a:r>
            <a:r>
              <a:rPr kumimoji="0" lang="en-IN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/v4/</a:t>
            </a:r>
            <a:r>
              <a:rPr kumimoji="0" lang="en-IN" sz="10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E7E6E6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alanceTopups</a:t>
            </a:r>
            <a:r>
              <a:rPr kumimoji="0" lang="en-IN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/top1</a:t>
            </a:r>
            <a:r>
              <a:rPr kumimoji="0" lang="en-IN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“ (MSISDN, product, amount) </a:t>
            </a:r>
            <a:endParaRPr kumimoji="0" lang="en-IN" sz="1200" b="0" i="0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7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1108363" y="3223419"/>
            <a:ext cx="2881746" cy="674254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op-up requestor</a:t>
            </a: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16" name="Straight Arrow Connector 15"/>
          <p:cNvCxnSpPr/>
          <p:nvPr/>
        </p:nvCxnSpPr>
        <p:spPr>
          <a:xfrm flipH="1">
            <a:off x="3990109" y="3790438"/>
            <a:ext cx="4553527" cy="1462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lowchart: Magnetic Disk 19"/>
          <p:cNvSpPr/>
          <p:nvPr/>
        </p:nvSpPr>
        <p:spPr>
          <a:xfrm>
            <a:off x="8663131" y="5545754"/>
            <a:ext cx="708890" cy="665019"/>
          </a:xfrm>
          <a:prstGeom prst="flowChartMagneticDisk">
            <a:avLst/>
          </a:prstGeom>
          <a:solidFill>
            <a:schemeClr val="accent1">
              <a:lumMod val="10000"/>
              <a:lumOff val="9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PR</a:t>
            </a:r>
            <a:endParaRPr kumimoji="0" lang="en-IN" sz="1200" b="0" i="0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4461161" y="3795710"/>
            <a:ext cx="478443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2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1 Success</a:t>
            </a:r>
            <a:endParaRPr kumimoji="0" lang="en-IN" sz="1200" b="0" i="0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7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26" name="Straight Arrow Connector 25"/>
          <p:cNvCxnSpPr/>
          <p:nvPr/>
        </p:nvCxnSpPr>
        <p:spPr>
          <a:xfrm flipV="1">
            <a:off x="3990109" y="4211782"/>
            <a:ext cx="4553527" cy="3002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/>
          <p:cNvSpPr txBox="1"/>
          <p:nvPr/>
        </p:nvSpPr>
        <p:spPr>
          <a:xfrm>
            <a:off x="4201971" y="4514185"/>
            <a:ext cx="522778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2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0 Success</a:t>
            </a:r>
            <a:endParaRPr kumimoji="0" lang="en-IN" sz="1200" b="0" i="0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7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28" name="Straight Arrow Connector 27"/>
          <p:cNvCxnSpPr/>
          <p:nvPr/>
        </p:nvCxnSpPr>
        <p:spPr>
          <a:xfrm flipH="1">
            <a:off x="3990109" y="4509248"/>
            <a:ext cx="4553527" cy="2203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/>
          <p:cNvSpPr txBox="1"/>
          <p:nvPr/>
        </p:nvSpPr>
        <p:spPr>
          <a:xfrm>
            <a:off x="4188694" y="3999864"/>
            <a:ext cx="478443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2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ET /</a:t>
            </a:r>
            <a:r>
              <a:rPr kumimoji="0" lang="en-IN" sz="12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E7E6E6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alancemanagement</a:t>
            </a:r>
            <a:r>
              <a:rPr kumimoji="0" lang="en-IN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/v4/buckets </a:t>
            </a:r>
            <a:endParaRPr kumimoji="0" lang="en-IN" sz="1200" b="0" i="0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7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5044095" y="3570379"/>
            <a:ext cx="1032387" cy="22005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654</a:t>
            </a: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5044094" y="4289189"/>
            <a:ext cx="1032387" cy="22005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654</a:t>
            </a: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38" name="Straight Arrow Connector 37"/>
          <p:cNvCxnSpPr/>
          <p:nvPr/>
        </p:nvCxnSpPr>
        <p:spPr>
          <a:xfrm flipH="1">
            <a:off x="3955695" y="5273964"/>
            <a:ext cx="4587941" cy="7028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Box 38"/>
          <p:cNvSpPr txBox="1"/>
          <p:nvPr/>
        </p:nvSpPr>
        <p:spPr>
          <a:xfrm>
            <a:off x="4481945" y="4960444"/>
            <a:ext cx="478443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2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ST </a:t>
            </a:r>
            <a:r>
              <a:rPr kumimoji="0" lang="en-IN" sz="12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E7E6E6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alanceChangeNotification</a:t>
            </a:r>
            <a:r>
              <a:rPr kumimoji="0" lang="en-IN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endParaRPr kumimoji="0" lang="en-IN" sz="1200" b="0" i="0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7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0" name="Rectangle 39"/>
          <p:cNvSpPr/>
          <p:nvPr/>
        </p:nvSpPr>
        <p:spPr>
          <a:xfrm>
            <a:off x="5044094" y="5209710"/>
            <a:ext cx="1032387" cy="22005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654</a:t>
            </a: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1" name="Rectangle 40"/>
          <p:cNvSpPr/>
          <p:nvPr/>
        </p:nvSpPr>
        <p:spPr>
          <a:xfrm>
            <a:off x="1073947" y="5005585"/>
            <a:ext cx="2881746" cy="674254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mmon Notification platform</a:t>
            </a: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" name="Rounded Rectangle 22"/>
          <p:cNvSpPr/>
          <p:nvPr/>
        </p:nvSpPr>
        <p:spPr>
          <a:xfrm>
            <a:off x="8679173" y="3471852"/>
            <a:ext cx="706586" cy="873073"/>
          </a:xfrm>
          <a:prstGeom prst="roundRect">
            <a:avLst/>
          </a:prstGeom>
          <a:solidFill>
            <a:schemeClr val="accent1">
              <a:lumMod val="10000"/>
              <a:lumOff val="9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CRF</a:t>
            </a:r>
            <a:endParaRPr kumimoji="0" lang="en-IN" sz="1200" b="0" i="0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8" name="Rounded Rectangle 47"/>
          <p:cNvSpPr/>
          <p:nvPr/>
        </p:nvSpPr>
        <p:spPr>
          <a:xfrm>
            <a:off x="8682182" y="4471664"/>
            <a:ext cx="706586" cy="872583"/>
          </a:xfrm>
          <a:prstGeom prst="roundRect">
            <a:avLst/>
          </a:prstGeom>
          <a:solidFill>
            <a:schemeClr val="accent1">
              <a:lumMod val="10000"/>
              <a:lumOff val="9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CS</a:t>
            </a:r>
            <a:endParaRPr kumimoji="0" lang="en-IN" sz="1200" b="0" i="0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107" name="Group 106"/>
          <p:cNvGrpSpPr/>
          <p:nvPr/>
        </p:nvGrpSpPr>
        <p:grpSpPr>
          <a:xfrm>
            <a:off x="9082812" y="3372114"/>
            <a:ext cx="2711277" cy="3071681"/>
            <a:chOff x="8995055" y="3279979"/>
            <a:chExt cx="2711277" cy="3071681"/>
          </a:xfrm>
        </p:grpSpPr>
        <p:grpSp>
          <p:nvGrpSpPr>
            <p:cNvPr id="90" name="Group 89"/>
            <p:cNvGrpSpPr/>
            <p:nvPr/>
          </p:nvGrpSpPr>
          <p:grpSpPr>
            <a:xfrm>
              <a:off x="8995055" y="3279979"/>
              <a:ext cx="2711277" cy="3071681"/>
              <a:chOff x="8995055" y="3223419"/>
              <a:chExt cx="2711277" cy="3071681"/>
            </a:xfrm>
          </p:grpSpPr>
          <p:cxnSp>
            <p:nvCxnSpPr>
              <p:cNvPr id="34" name="Straight Arrow Connector 33"/>
              <p:cNvCxnSpPr/>
              <p:nvPr/>
            </p:nvCxnSpPr>
            <p:spPr>
              <a:xfrm flipV="1">
                <a:off x="9400172" y="3643421"/>
                <a:ext cx="1433914" cy="11005"/>
              </a:xfrm>
              <a:prstGeom prst="straightConnector1">
                <a:avLst/>
              </a:prstGeom>
              <a:ln>
                <a:solidFill>
                  <a:schemeClr val="accent6">
                    <a:lumMod val="50000"/>
                    <a:lumOff val="50000"/>
                  </a:schemeClr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9" name="Rounded Rectangle 18"/>
              <p:cNvSpPr/>
              <p:nvPr/>
            </p:nvSpPr>
            <p:spPr>
              <a:xfrm>
                <a:off x="10816663" y="3223419"/>
                <a:ext cx="872246" cy="892002"/>
              </a:xfrm>
              <a:prstGeom prst="roundRect">
                <a:avLst/>
              </a:prstGeom>
              <a:solidFill>
                <a:schemeClr val="accent1">
                  <a:lumMod val="10000"/>
                  <a:lumOff val="9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2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E7E6E6">
                        <a:lumMod val="50000"/>
                      </a:srgbClr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PGW</a:t>
                </a: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E7E6E6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2" name="TextBox 41"/>
              <p:cNvSpPr txBox="1"/>
              <p:nvPr/>
            </p:nvSpPr>
            <p:spPr>
              <a:xfrm>
                <a:off x="9809416" y="3369645"/>
                <a:ext cx="1457726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2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IN" sz="1000" b="0" i="0" u="none" strike="noStrike" kern="1200" cap="none" spc="0" normalizeH="0" baseline="0" noProof="0" dirty="0" err="1" smtClean="0">
                    <a:ln>
                      <a:noFill/>
                    </a:ln>
                    <a:solidFill>
                      <a:srgbClr val="0070C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Gx</a:t>
                </a:r>
                <a:r>
                  <a:rPr kumimoji="0" lang="en-IN" sz="10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70C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 RAR</a:t>
                </a:r>
                <a:endParaRPr kumimoji="0" lang="en-IN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3" name="TextBox 42"/>
              <p:cNvSpPr txBox="1"/>
              <p:nvPr/>
            </p:nvSpPr>
            <p:spPr>
              <a:xfrm>
                <a:off x="9795060" y="3714433"/>
                <a:ext cx="1457726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2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IN" sz="1000" b="0" i="0" u="none" strike="noStrike" kern="1200" cap="none" spc="0" normalizeH="0" baseline="0" noProof="0" dirty="0" err="1" smtClean="0">
                    <a:ln>
                      <a:noFill/>
                    </a:ln>
                    <a:solidFill>
                      <a:srgbClr val="FFC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G</a:t>
                </a:r>
                <a:r>
                  <a:rPr kumimoji="0" lang="en-IN" sz="10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C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y</a:t>
                </a:r>
                <a:r>
                  <a:rPr kumimoji="0" lang="en-IN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C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 RAR</a:t>
                </a:r>
              </a:p>
            </p:txBody>
          </p:sp>
          <p:sp>
            <p:nvSpPr>
              <p:cNvPr id="46" name="Rounded Rectangle 45"/>
              <p:cNvSpPr/>
              <p:nvPr/>
            </p:nvSpPr>
            <p:spPr>
              <a:xfrm>
                <a:off x="10834086" y="4282557"/>
                <a:ext cx="872246" cy="927154"/>
              </a:xfrm>
              <a:prstGeom prst="roundRect">
                <a:avLst/>
              </a:prstGeom>
              <a:solidFill>
                <a:schemeClr val="accent1">
                  <a:lumMod val="10000"/>
                  <a:lumOff val="9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2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E7E6E6">
                        <a:lumMod val="50000"/>
                      </a:srgbClr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P-CSCF</a:t>
                </a: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E7E6E6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7" name="Rounded Rectangle 46"/>
              <p:cNvSpPr/>
              <p:nvPr/>
            </p:nvSpPr>
            <p:spPr>
              <a:xfrm>
                <a:off x="10816663" y="5367946"/>
                <a:ext cx="872246" cy="927154"/>
              </a:xfrm>
              <a:prstGeom prst="roundRect">
                <a:avLst/>
              </a:prstGeom>
              <a:solidFill>
                <a:schemeClr val="accent1">
                  <a:lumMod val="10000"/>
                  <a:lumOff val="9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2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E7E6E6">
                        <a:lumMod val="50000"/>
                      </a:srgbClr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External OCS</a:t>
                </a: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E7E6E6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cxnSp>
            <p:nvCxnSpPr>
              <p:cNvPr id="50" name="Elbow Connector 49"/>
              <p:cNvCxnSpPr/>
              <p:nvPr/>
            </p:nvCxnSpPr>
            <p:spPr>
              <a:xfrm>
                <a:off x="9394311" y="4045941"/>
                <a:ext cx="1387822" cy="658092"/>
              </a:xfrm>
              <a:prstGeom prst="bentConnector3">
                <a:avLst/>
              </a:prstGeom>
              <a:ln>
                <a:solidFill>
                  <a:srgbClr val="0070C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6" name="Elbow Connector 55"/>
              <p:cNvCxnSpPr>
                <a:endCxn id="23" idx="3"/>
              </p:cNvCxnSpPr>
              <p:nvPr/>
            </p:nvCxnSpPr>
            <p:spPr>
              <a:xfrm rot="16200000" flipV="1">
                <a:off x="8690121" y="4547468"/>
                <a:ext cx="1979693" cy="588415"/>
              </a:xfrm>
              <a:prstGeom prst="bentConnector2">
                <a:avLst/>
              </a:prstGeom>
              <a:ln>
                <a:solidFill>
                  <a:srgbClr val="70AD47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1" name="Elbow Connector 70"/>
              <p:cNvCxnSpPr/>
              <p:nvPr/>
            </p:nvCxnSpPr>
            <p:spPr>
              <a:xfrm flipV="1">
                <a:off x="9358937" y="3958339"/>
                <a:ext cx="1458577" cy="830417"/>
              </a:xfrm>
              <a:prstGeom prst="bentConnector3">
                <a:avLst>
                  <a:gd name="adj1" fmla="val 31003"/>
                </a:avLst>
              </a:prstGeom>
              <a:ln>
                <a:solidFill>
                  <a:srgbClr val="FFC00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80" name="TextBox 79"/>
              <p:cNvSpPr txBox="1"/>
              <p:nvPr/>
            </p:nvSpPr>
            <p:spPr>
              <a:xfrm>
                <a:off x="9795060" y="4408616"/>
                <a:ext cx="1457726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2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IN" sz="10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70C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x RAR</a:t>
                </a:r>
                <a:endParaRPr kumimoji="0" lang="en-IN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81" name="TextBox 80"/>
              <p:cNvSpPr txBox="1"/>
              <p:nvPr/>
            </p:nvSpPr>
            <p:spPr>
              <a:xfrm>
                <a:off x="8995055" y="3628863"/>
                <a:ext cx="1457726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2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IN" sz="1000" b="0" i="0" u="none" strike="noStrike" kern="1200" cap="none" spc="0" normalizeH="0" baseline="0" noProof="0" dirty="0" err="1" smtClean="0">
                    <a:ln>
                      <a:noFill/>
                    </a:ln>
                    <a:solidFill>
                      <a:srgbClr val="70AD47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y</a:t>
                </a:r>
                <a:r>
                  <a:rPr kumimoji="0" lang="en-IN" sz="10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70AD47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 SNR</a:t>
                </a:r>
                <a:endParaRPr kumimoji="0" lang="en-IN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70AD47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  <p:cxnSp>
          <p:nvCxnSpPr>
            <p:cNvPr id="104" name="Straight Connector 103"/>
            <p:cNvCxnSpPr>
              <a:stCxn id="47" idx="1"/>
            </p:cNvCxnSpPr>
            <p:nvPr/>
          </p:nvCxnSpPr>
          <p:spPr>
            <a:xfrm flipH="1">
              <a:off x="9980377" y="5888083"/>
              <a:ext cx="836286" cy="0"/>
            </a:xfrm>
            <a:prstGeom prst="line">
              <a:avLst/>
            </a:prstGeom>
            <a:ln>
              <a:solidFill>
                <a:srgbClr val="0070C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654 Prepay Balance Management  (Top-up)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8702526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10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10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3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4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7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8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5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6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21" grpId="0"/>
      <p:bldP spid="27" grpId="0"/>
      <p:bldP spid="29" grpId="0"/>
      <p:bldP spid="31" grpId="0" animBg="1"/>
      <p:bldP spid="36" grpId="0" animBg="1"/>
      <p:bldP spid="39" grpId="0"/>
      <p:bldP spid="40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654 APIs </a:t>
            </a:r>
            <a:r>
              <a:rPr lang="en-GB" dirty="0"/>
              <a:t>- Prepay Balance Management </a:t>
            </a:r>
            <a:endParaRPr lang="en-IN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99339" y="1309765"/>
            <a:ext cx="10200970" cy="4708965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82160" y="843914"/>
            <a:ext cx="11535947" cy="5449454"/>
          </a:xfrm>
        </p:spPr>
        <p:txBody>
          <a:bodyPr/>
          <a:lstStyle/>
          <a:p>
            <a:r>
              <a:rPr lang="en-GB" dirty="0" smtClean="0"/>
              <a:t>STL dPCC supported operations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253459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TM Forum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1A2746"/>
      </a:accent1>
      <a:accent2>
        <a:srgbClr val="E1141E"/>
      </a:accent2>
      <a:accent3>
        <a:srgbClr val="989898"/>
      </a:accent3>
      <a:accent4>
        <a:srgbClr val="D2D5DA"/>
      </a:accent4>
      <a:accent5>
        <a:srgbClr val="F3F3F5"/>
      </a:accent5>
      <a:accent6>
        <a:srgbClr val="1A2746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TM FORUM DTW">
      <a:dk1>
        <a:srgbClr val="29313B"/>
      </a:dk1>
      <a:lt1>
        <a:sysClr val="window" lastClr="FFFFFF"/>
      </a:lt1>
      <a:dk2>
        <a:srgbClr val="29313B"/>
      </a:dk2>
      <a:lt2>
        <a:srgbClr val="FFFFFF"/>
      </a:lt2>
      <a:accent1>
        <a:srgbClr val="192746"/>
      </a:accent1>
      <a:accent2>
        <a:srgbClr val="34AADE"/>
      </a:accent2>
      <a:accent3>
        <a:srgbClr val="BDE2EC"/>
      </a:accent3>
      <a:accent4>
        <a:srgbClr val="E10E1F"/>
      </a:accent4>
      <a:accent5>
        <a:srgbClr val="989899"/>
      </a:accent5>
      <a:accent6>
        <a:srgbClr val="D3D5DB"/>
      </a:accent6>
      <a:hlink>
        <a:srgbClr val="42ACE1"/>
      </a:hlink>
      <a:folHlink>
        <a:srgbClr val="208FC6"/>
      </a:folHlink>
    </a:clrScheme>
    <a:fontScheme name="TM Foru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Whit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Helvetica"/>
        <a:ea typeface="Helvetica"/>
        <a:cs typeface="Helvetica"/>
      </a:majorFont>
      <a:minorFont>
        <a:latin typeface="Calibri"/>
        <a:ea typeface="Calibri"/>
        <a:cs typeface="Calibri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12700" cap="flat">
          <a:solidFill>
            <a:schemeClr val="accent1"/>
          </a:solidFill>
          <a:prstDash val="solid"/>
          <a:miter lim="800000"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ctr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12700" cap="flat">
          <a:solidFill>
            <a:schemeClr val="accent1"/>
          </a:solidFill>
          <a:prstDash val="solid"/>
          <a:miter lim="8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t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  <a:extLst>
    <a:ext uri="{05A4C25C-085E-4340-85A3-A5531E510DB2}">
      <thm15:themeFamily xmlns:thm15="http://schemas.microsoft.com/office/thememl/2012/main" name="STL_template_white_theme_v1" id="{58F19D77-5816-E04A-9191-044213DD5832}" vid="{FD3203AA-40CA-F944-9908-AFFD7879A25F}"/>
    </a:ext>
  </a:extLst>
</a:theme>
</file>

<file path=ppt/theme/theme4.xml><?xml version="1.0" encoding="utf-8"?>
<a:theme xmlns:a="http://schemas.openxmlformats.org/drawingml/2006/main" name="Whit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Helvetica"/>
        <a:ea typeface="Helvetica"/>
        <a:cs typeface="Helvetica"/>
      </a:majorFont>
      <a:minorFont>
        <a:latin typeface="Calibri"/>
        <a:ea typeface="Calibri"/>
        <a:cs typeface="Calibri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12700" cap="flat">
          <a:solidFill>
            <a:schemeClr val="accent1"/>
          </a:solidFill>
          <a:prstDash val="solid"/>
          <a:miter lim="800000"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ctr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12700" cap="flat">
          <a:solidFill>
            <a:schemeClr val="accent1"/>
          </a:solidFill>
          <a:prstDash val="solid"/>
          <a:miter lim="8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t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  <a:extLst>
    <a:ext uri="{05A4C25C-085E-4340-85A3-A5531E510DB2}">
      <thm15:themeFamily xmlns:thm15="http://schemas.microsoft.com/office/thememl/2012/main" name="STL_template_white_theme_v1" id="{58F19D77-5816-E04A-9191-044213DD5832}" vid="{FD3203AA-40CA-F944-9908-AFFD7879A25F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3927776b-9c3b-4061-bacb-3d07ac85e0aa" xsi:nil="true"/>
    <lcf76f155ced4ddcb4097134ff3c332f xmlns="316e629a-3d22-4e03-b8cf-7974236374c6">
      <Terms xmlns="http://schemas.microsoft.com/office/infopath/2007/PartnerControls"/>
    </lcf76f155ced4ddcb4097134ff3c332f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B825CCB81CC3145876FFCE77B4373B5" ma:contentTypeVersion="15" ma:contentTypeDescription="Create a new document." ma:contentTypeScope="" ma:versionID="168c3c6baec1829aa923dabc78bf2d80">
  <xsd:schema xmlns:xsd="http://www.w3.org/2001/XMLSchema" xmlns:xs="http://www.w3.org/2001/XMLSchema" xmlns:p="http://schemas.microsoft.com/office/2006/metadata/properties" xmlns:ns2="316e629a-3d22-4e03-b8cf-7974236374c6" xmlns:ns3="3927776b-9c3b-4061-bacb-3d07ac85e0aa" targetNamespace="http://schemas.microsoft.com/office/2006/metadata/properties" ma:root="true" ma:fieldsID="9fe9872398a9f7dad9ecce5134cf494e" ns2:_="" ns3:_="">
    <xsd:import namespace="316e629a-3d22-4e03-b8cf-7974236374c6"/>
    <xsd:import namespace="3927776b-9c3b-4061-bacb-3d07ac85e0a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16e629a-3d22-4e03-b8cf-7974236374c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8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0" nillable="true" ma:taxonomy="true" ma:internalName="lcf76f155ced4ddcb4097134ff3c332f" ma:taxonomyFieldName="MediaServiceImageTags" ma:displayName="Image Tags" ma:readOnly="false" ma:fieldId="{5cf76f15-5ced-4ddc-b409-7134ff3c332f}" ma:taxonomyMulti="true" ma:sspId="d6c21206-e962-4e70-b7c6-9737299e2fc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927776b-9c3b-4061-bacb-3d07ac85e0aa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1" nillable="true" ma:displayName="Taxonomy Catch All Column" ma:hidden="true" ma:list="{21037ca7-734e-439b-9824-f22206fabadf}" ma:internalName="TaxCatchAll" ma:showField="CatchAllData" ma:web="3927776b-9c3b-4061-bacb-3d07ac85e0a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517158D-FCB1-4464-8292-FDB2CFD2DD69}">
  <ds:schemaRefs>
    <ds:schemaRef ds:uri="6bebe90e-5d7b-4965-a9ae-4f50ca5a5f06"/>
    <ds:schemaRef ds:uri="c4d58d1d-730f-444a-9971-b1ca145832b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  <ds:schemaRef ds:uri="3927776b-9c3b-4061-bacb-3d07ac85e0aa"/>
    <ds:schemaRef ds:uri="316e629a-3d22-4e03-b8cf-7974236374c6"/>
  </ds:schemaRefs>
</ds:datastoreItem>
</file>

<file path=customXml/itemProps2.xml><?xml version="1.0" encoding="utf-8"?>
<ds:datastoreItem xmlns:ds="http://schemas.openxmlformats.org/officeDocument/2006/customXml" ds:itemID="{EF2BEB91-E903-4C69-B085-E7319B5003B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16e629a-3d22-4e03-b8cf-7974236374c6"/>
    <ds:schemaRef ds:uri="3927776b-9c3b-4061-bacb-3d07ac85e0a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5A6D813-78D9-4CDA-8326-CF39623EFC1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4-60569_TM Forum 2020 Template</Template>
  <TotalTime>3546</TotalTime>
  <Words>839</Words>
  <Application>Microsoft Office PowerPoint</Application>
  <PresentationFormat>Widescreen</PresentationFormat>
  <Paragraphs>243</Paragraphs>
  <Slides>13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7" baseType="lpstr">
      <vt:lpstr>Arial</vt:lpstr>
      <vt:lpstr>Avenir Next LT Pro</vt:lpstr>
      <vt:lpstr>Calibri</vt:lpstr>
      <vt:lpstr>Calibri Light</vt:lpstr>
      <vt:lpstr>Courier New</vt:lpstr>
      <vt:lpstr>Gotham Medium</vt:lpstr>
      <vt:lpstr>Gotham Narrow Black</vt:lpstr>
      <vt:lpstr>Quattrocento Sans</vt:lpstr>
      <vt:lpstr>Vodafone Rg</vt:lpstr>
      <vt:lpstr>1_Office Theme</vt:lpstr>
      <vt:lpstr>Office Theme</vt:lpstr>
      <vt:lpstr>1_White Theme</vt:lpstr>
      <vt:lpstr>White Theme</vt:lpstr>
      <vt:lpstr>think-cell Slide</vt:lpstr>
      <vt:lpstr>PowerPoint Presentation</vt:lpstr>
      <vt:lpstr>Agenda</vt:lpstr>
      <vt:lpstr>STL dPCC for Balance Management</vt:lpstr>
      <vt:lpstr>STL PCRF, PCF ODA Component Envelope</vt:lpstr>
      <vt:lpstr>ODA Canvas on STL Cloud Native Platform</vt:lpstr>
      <vt:lpstr>STL PCRF / PCF Deployment Model on ODA Canvas</vt:lpstr>
      <vt:lpstr>ODA Reference Implementation in the Open Digital Lab</vt:lpstr>
      <vt:lpstr>654 Prepay Balance Management  (Top-up)</vt:lpstr>
      <vt:lpstr>654 APIs - Prepay Balance Management </vt:lpstr>
      <vt:lpstr>Standalone – PCRF and PCF</vt:lpstr>
      <vt:lpstr>STL Combo PCRF+PCF</vt:lpstr>
      <vt:lpstr>STL PCRF / PCF on ODA Canvas : Demo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 here</dc:title>
  <dc:subject>&lt;Event name here&gt;</dc:subject>
  <dc:creator>David Andrews</dc:creator>
  <cp:lastModifiedBy>Rajesh Singh 1</cp:lastModifiedBy>
  <cp:revision>47</cp:revision>
  <dcterms:created xsi:type="dcterms:W3CDTF">2020-07-10T18:44:05Z</dcterms:created>
  <dcterms:modified xsi:type="dcterms:W3CDTF">2022-09-14T12:22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D4ED8B42F49B448A65E68BB65E2BFEB</vt:lpwstr>
  </property>
  <property fmtid="{D5CDD505-2E9C-101B-9397-08002B2CF9AE}" pid="3" name="MediaServiceImageTags">
    <vt:lpwstr/>
  </property>
</Properties>
</file>